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7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8" r:id="rId4"/>
    <p:sldMasterId id="2147483883" r:id="rId5"/>
    <p:sldMasterId id="2147483895" r:id="rId6"/>
    <p:sldMasterId id="2147483902" r:id="rId7"/>
    <p:sldMasterId id="2147483909" r:id="rId8"/>
    <p:sldMasterId id="2147483931" r:id="rId9"/>
    <p:sldMasterId id="2147483941" r:id="rId10"/>
    <p:sldMasterId id="2147483956" r:id="rId11"/>
  </p:sldMasterIdLst>
  <p:notesMasterIdLst>
    <p:notesMasterId r:id="rId29"/>
  </p:notesMasterIdLst>
  <p:handoutMasterIdLst>
    <p:handoutMasterId r:id="rId30"/>
  </p:handoutMasterIdLst>
  <p:sldIdLst>
    <p:sldId id="840" r:id="rId12"/>
    <p:sldId id="968" r:id="rId13"/>
    <p:sldId id="950" r:id="rId14"/>
    <p:sldId id="895" r:id="rId15"/>
    <p:sldId id="952" r:id="rId16"/>
    <p:sldId id="955" r:id="rId17"/>
    <p:sldId id="967" r:id="rId18"/>
    <p:sldId id="969" r:id="rId19"/>
    <p:sldId id="970" r:id="rId20"/>
    <p:sldId id="976" r:id="rId21"/>
    <p:sldId id="971" r:id="rId22"/>
    <p:sldId id="972" r:id="rId23"/>
    <p:sldId id="974" r:id="rId24"/>
    <p:sldId id="973" r:id="rId25"/>
    <p:sldId id="975" r:id="rId26"/>
    <p:sldId id="977" r:id="rId27"/>
    <p:sldId id="880" r:id="rId28"/>
  </p:sldIdLst>
  <p:sldSz cx="9144000" cy="5145088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ura Somson" initials="LS" lastIdx="1" clrIdx="0">
    <p:extLst>
      <p:ext uri="{19B8F6BF-5375-455C-9EA6-DF929625EA0E}">
        <p15:presenceInfo xmlns:p15="http://schemas.microsoft.com/office/powerpoint/2012/main" userId="Laura Somson" providerId="None"/>
      </p:ext>
    </p:extLst>
  </p:cmAuthor>
  <p:cmAuthor id="2" name="MAHUZIER Camille (SAFRAN)" initials="MC(" lastIdx="1" clrIdx="1">
    <p:extLst>
      <p:ext uri="{19B8F6BF-5375-455C-9EA6-DF929625EA0E}">
        <p15:presenceInfo xmlns:p15="http://schemas.microsoft.com/office/powerpoint/2012/main" userId="S-1-5-21-813648853-2564789358-409278174-3396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7900"/>
    <a:srgbClr val="2CC84D"/>
    <a:srgbClr val="EEF7D4"/>
    <a:srgbClr val="B1D83E"/>
    <a:srgbClr val="FFCCCC"/>
    <a:srgbClr val="2C525D"/>
    <a:srgbClr val="3684CB"/>
    <a:srgbClr val="17D0CB"/>
    <a:srgbClr val="024F20"/>
    <a:srgbClr val="FFB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0C95439-F446-48D0-80BD-157E8533A542}" v="121" dt="2023-11-03T09:00:47.214"/>
    <p1510:client id="{68729AB2-9DF3-45B4-95B9-842477FA43FD}" v="195" dt="2023-11-03T09:04:03.528"/>
    <p1510:client id="{705CCA03-90FA-4009-9CE5-461AC4737CFD}" v="1072" dt="2023-11-03T09:34:57.633"/>
    <p1510:client id="{7072B95C-4067-46DC-95E4-0E332946F745}" v="90" dt="2023-11-03T08:10:42.632"/>
    <p1510:client id="{7ADDFB80-39BC-4EB9-A03A-A1D305E4F21A}" v="31" dt="2023-11-03T09:25:12.125"/>
    <p1510:client id="{93FAE3DA-4E16-41B1-99FC-4DD0CE970465}" v="56" dt="2023-11-03T10:23:03.871"/>
    <p1510:client id="{96B2E9FC-1581-4AE0-B94F-04BF570196FB}" v="61" dt="2023-11-03T09:46:47.685"/>
    <p1510:client id="{C49AB274-656F-49F1-A452-8D2466A59390}" v="295" dt="2023-11-03T08:41:57.711"/>
    <p1510:client id="{C8B95E89-9DC3-4F6C-9770-69D3B3A452FF}" v="76" dt="2023-11-03T09:34:22.519"/>
    <p1510:client id="{CA320B85-AB87-418A-8250-5E4FCEF4A975}" v="93" dt="2023-11-03T08:49:47.180"/>
    <p1510:client id="{F2EC60B7-FBC9-49DC-B03C-06D7D33C9558}" v="182" dt="2023-11-03T09:17:37.620"/>
    <p1510:client id="{FE97BE43-F216-49EC-8078-59F0E5130B28}" v="91" dt="2023-11-03T09:56:16.4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E9639D4-E3E2-4D34-9284-5A2195B3D0D7}" styleName="Style clair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5" d="100"/>
          <a:sy n="145" d="100"/>
        </p:scale>
        <p:origin x="567" y="6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microsoft.com/office/2016/11/relationships/changesInfo" Target="changesInfos/changesInfo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RTHOU Celine (SAFRAN)" userId="S::celine.berthou@safrangroup.com::9bb17291-f45a-490c-9077-6d1496bddd85" providerId="AD" clId="Web-{C49AB274-656F-49F1-A452-8D2466A59390}"/>
    <pc:docChg chg="modSld">
      <pc:chgData name="BERTHOU Celine (SAFRAN)" userId="S::celine.berthou@safrangroup.com::9bb17291-f45a-490c-9077-6d1496bddd85" providerId="AD" clId="Web-{C49AB274-656F-49F1-A452-8D2466A59390}" dt="2023-11-03T08:41:57.711" v="290" actId="20577"/>
      <pc:docMkLst>
        <pc:docMk/>
      </pc:docMkLst>
      <pc:sldChg chg="modSp">
        <pc:chgData name="BERTHOU Celine (SAFRAN)" userId="S::celine.berthou@safrangroup.com::9bb17291-f45a-490c-9077-6d1496bddd85" providerId="AD" clId="Web-{C49AB274-656F-49F1-A452-8D2466A59390}" dt="2023-11-03T08:41:57.711" v="290" actId="20577"/>
        <pc:sldMkLst>
          <pc:docMk/>
          <pc:sldMk cId="1841092784" sldId="970"/>
        </pc:sldMkLst>
        <pc:spChg chg="mod">
          <ac:chgData name="BERTHOU Celine (SAFRAN)" userId="S::celine.berthou@safrangroup.com::9bb17291-f45a-490c-9077-6d1496bddd85" providerId="AD" clId="Web-{C49AB274-656F-49F1-A452-8D2466A59390}" dt="2023-11-03T08:41:57.711" v="290" actId="20577"/>
          <ac:spMkLst>
            <pc:docMk/>
            <pc:sldMk cId="1841092784" sldId="970"/>
            <ac:spMk id="4" creationId="{00000000-0000-0000-0000-000000000000}"/>
          </ac:spMkLst>
        </pc:spChg>
      </pc:sldChg>
      <pc:sldChg chg="modSp">
        <pc:chgData name="BERTHOU Celine (SAFRAN)" userId="S::celine.berthou@safrangroup.com::9bb17291-f45a-490c-9077-6d1496bddd85" providerId="AD" clId="Web-{C49AB274-656F-49F1-A452-8D2466A59390}" dt="2023-11-03T08:41:01.552" v="283" actId="20577"/>
        <pc:sldMkLst>
          <pc:docMk/>
          <pc:sldMk cId="1605455865" sldId="972"/>
        </pc:sldMkLst>
        <pc:spChg chg="mod">
          <ac:chgData name="BERTHOU Celine (SAFRAN)" userId="S::celine.berthou@safrangroup.com::9bb17291-f45a-490c-9077-6d1496bddd85" providerId="AD" clId="Web-{C49AB274-656F-49F1-A452-8D2466A59390}" dt="2023-11-03T08:41:01.552" v="283" actId="20577"/>
          <ac:spMkLst>
            <pc:docMk/>
            <pc:sldMk cId="1605455865" sldId="972"/>
            <ac:spMk id="4" creationId="{00000000-0000-0000-0000-000000000000}"/>
          </ac:spMkLst>
        </pc:spChg>
      </pc:sldChg>
      <pc:sldChg chg="modSp">
        <pc:chgData name="BERTHOU Celine (SAFRAN)" userId="S::celine.berthou@safrangroup.com::9bb17291-f45a-490c-9077-6d1496bddd85" providerId="AD" clId="Web-{C49AB274-656F-49F1-A452-8D2466A59390}" dt="2023-11-03T08:18:47.751" v="90" actId="20577"/>
        <pc:sldMkLst>
          <pc:docMk/>
          <pc:sldMk cId="121708418" sldId="973"/>
        </pc:sldMkLst>
        <pc:spChg chg="mod">
          <ac:chgData name="BERTHOU Celine (SAFRAN)" userId="S::celine.berthou@safrangroup.com::9bb17291-f45a-490c-9077-6d1496bddd85" providerId="AD" clId="Web-{C49AB274-656F-49F1-A452-8D2466A59390}" dt="2023-11-03T08:18:47.751" v="90" actId="20577"/>
          <ac:spMkLst>
            <pc:docMk/>
            <pc:sldMk cId="121708418" sldId="973"/>
            <ac:spMk id="4" creationId="{00000000-0000-0000-0000-000000000000}"/>
          </ac:spMkLst>
        </pc:spChg>
      </pc:sldChg>
      <pc:sldChg chg="modSp">
        <pc:chgData name="BERTHOU Celine (SAFRAN)" userId="S::celine.berthou@safrangroup.com::9bb17291-f45a-490c-9077-6d1496bddd85" providerId="AD" clId="Web-{C49AB274-656F-49F1-A452-8D2466A59390}" dt="2023-11-03T08:32:04.516" v="216" actId="20577"/>
        <pc:sldMkLst>
          <pc:docMk/>
          <pc:sldMk cId="3088591055" sldId="975"/>
        </pc:sldMkLst>
        <pc:spChg chg="mod">
          <ac:chgData name="BERTHOU Celine (SAFRAN)" userId="S::celine.berthou@safrangroup.com::9bb17291-f45a-490c-9077-6d1496bddd85" providerId="AD" clId="Web-{C49AB274-656F-49F1-A452-8D2466A59390}" dt="2023-11-03T08:32:04.516" v="216" actId="20577"/>
          <ac:spMkLst>
            <pc:docMk/>
            <pc:sldMk cId="3088591055" sldId="975"/>
            <ac:spMk id="4" creationId="{00000000-0000-0000-0000-000000000000}"/>
          </ac:spMkLst>
        </pc:spChg>
      </pc:sldChg>
    </pc:docChg>
  </pc:docChgLst>
  <pc:docChgLst>
    <pc:chgData name="VU Dong Quan (SAFRAN)" userId="S::dong-quan.vu@safrangroup.com::dc143bd2-9eac-4548-995a-71ae903870e1" providerId="AD" clId="Web-{93FAE3DA-4E16-41B1-99FC-4DD0CE970465}"/>
    <pc:docChg chg="modSld">
      <pc:chgData name="VU Dong Quan (SAFRAN)" userId="S::dong-quan.vu@safrangroup.com::dc143bd2-9eac-4548-995a-71ae903870e1" providerId="AD" clId="Web-{93FAE3DA-4E16-41B1-99FC-4DD0CE970465}" dt="2023-11-03T10:14:05.335" v="45"/>
      <pc:docMkLst>
        <pc:docMk/>
      </pc:docMkLst>
      <pc:sldChg chg="modSp">
        <pc:chgData name="VU Dong Quan (SAFRAN)" userId="S::dong-quan.vu@safrangroup.com::dc143bd2-9eac-4548-995a-71ae903870e1" providerId="AD" clId="Web-{93FAE3DA-4E16-41B1-99FC-4DD0CE970465}" dt="2023-11-03T10:14:05.335" v="45"/>
        <pc:sldMkLst>
          <pc:docMk/>
          <pc:sldMk cId="15107407" sldId="977"/>
        </pc:sldMkLst>
        <pc:graphicFrameChg chg="mod modGraphic">
          <ac:chgData name="VU Dong Quan (SAFRAN)" userId="S::dong-quan.vu@safrangroup.com::dc143bd2-9eac-4548-995a-71ae903870e1" providerId="AD" clId="Web-{93FAE3DA-4E16-41B1-99FC-4DD0CE970465}" dt="2023-11-03T10:14:05.335" v="45"/>
          <ac:graphicFrameMkLst>
            <pc:docMk/>
            <pc:sldMk cId="15107407" sldId="977"/>
            <ac:graphicFrameMk id="6" creationId="{6E8E6F31-0594-D5F8-A367-A8E73481BBC2}"/>
          </ac:graphicFrameMkLst>
        </pc:graphicFrameChg>
      </pc:sldChg>
    </pc:docChg>
  </pc:docChgLst>
  <pc:docChgLst>
    <pc:chgData name="VU Dong Quan (SAFRAN)" userId="S::dong-quan.vu@safrangroup.com::dc143bd2-9eac-4548-995a-71ae903870e1" providerId="AD" clId="Web-{705CCA03-90FA-4009-9CE5-461AC4737CFD}"/>
    <pc:docChg chg="addSld modSld">
      <pc:chgData name="VU Dong Quan (SAFRAN)" userId="S::dong-quan.vu@safrangroup.com::dc143bd2-9eac-4548-995a-71ae903870e1" providerId="AD" clId="Web-{705CCA03-90FA-4009-9CE5-461AC4737CFD}" dt="2023-11-03T09:34:55.180" v="923" actId="20577"/>
      <pc:docMkLst>
        <pc:docMk/>
      </pc:docMkLst>
      <pc:sldChg chg="addSp delSp modSp">
        <pc:chgData name="VU Dong Quan (SAFRAN)" userId="S::dong-quan.vu@safrangroup.com::dc143bd2-9eac-4548-995a-71ae903870e1" providerId="AD" clId="Web-{705CCA03-90FA-4009-9CE5-461AC4737CFD}" dt="2023-11-03T09:21:36.055" v="12"/>
        <pc:sldMkLst>
          <pc:docMk/>
          <pc:sldMk cId="1841092784" sldId="970"/>
        </pc:sldMkLst>
        <pc:spChg chg="mod">
          <ac:chgData name="VU Dong Quan (SAFRAN)" userId="S::dong-quan.vu@safrangroup.com::dc143bd2-9eac-4548-995a-71ae903870e1" providerId="AD" clId="Web-{705CCA03-90FA-4009-9CE5-461AC4737CFD}" dt="2023-11-03T09:16:54.075" v="9" actId="20577"/>
          <ac:spMkLst>
            <pc:docMk/>
            <pc:sldMk cId="1841092784" sldId="970"/>
            <ac:spMk id="4" creationId="{00000000-0000-0000-0000-000000000000}"/>
          </ac:spMkLst>
        </pc:spChg>
        <pc:picChg chg="add del mod">
          <ac:chgData name="VU Dong Quan (SAFRAN)" userId="S::dong-quan.vu@safrangroup.com::dc143bd2-9eac-4548-995a-71ae903870e1" providerId="AD" clId="Web-{705CCA03-90FA-4009-9CE5-461AC4737CFD}" dt="2023-11-03T09:21:36.055" v="12"/>
          <ac:picMkLst>
            <pc:docMk/>
            <pc:sldMk cId="1841092784" sldId="970"/>
            <ac:picMk id="5" creationId="{FCD630E6-837F-81E2-C3B6-8EE0D270F965}"/>
          </ac:picMkLst>
        </pc:picChg>
      </pc:sldChg>
      <pc:sldChg chg="modSp">
        <pc:chgData name="VU Dong Quan (SAFRAN)" userId="S::dong-quan.vu@safrangroup.com::dc143bd2-9eac-4548-995a-71ae903870e1" providerId="AD" clId="Web-{705CCA03-90FA-4009-9CE5-461AC4737CFD}" dt="2023-11-03T09:17:02.278" v="10" actId="1076"/>
        <pc:sldMkLst>
          <pc:docMk/>
          <pc:sldMk cId="680531420" sldId="971"/>
        </pc:sldMkLst>
        <pc:graphicFrameChg chg="mod">
          <ac:chgData name="VU Dong Quan (SAFRAN)" userId="S::dong-quan.vu@safrangroup.com::dc143bd2-9eac-4548-995a-71ae903870e1" providerId="AD" clId="Web-{705CCA03-90FA-4009-9CE5-461AC4737CFD}" dt="2023-11-03T09:17:02.278" v="10" actId="1076"/>
          <ac:graphicFrameMkLst>
            <pc:docMk/>
            <pc:sldMk cId="680531420" sldId="971"/>
            <ac:graphicFrameMk id="5" creationId="{00000000-0000-0000-0000-000000000000}"/>
          </ac:graphicFrameMkLst>
        </pc:graphicFrameChg>
      </pc:sldChg>
      <pc:sldChg chg="addSp delSp modSp new">
        <pc:chgData name="VU Dong Quan (SAFRAN)" userId="S::dong-quan.vu@safrangroup.com::dc143bd2-9eac-4548-995a-71ae903870e1" providerId="AD" clId="Web-{705CCA03-90FA-4009-9CE5-461AC4737CFD}" dt="2023-11-03T09:23:12.746" v="28" actId="14100"/>
        <pc:sldMkLst>
          <pc:docMk/>
          <pc:sldMk cId="2229937604" sldId="976"/>
        </pc:sldMkLst>
        <pc:spChg chg="del">
          <ac:chgData name="VU Dong Quan (SAFRAN)" userId="S::dong-quan.vu@safrangroup.com::dc143bd2-9eac-4548-995a-71ae903870e1" providerId="AD" clId="Web-{705CCA03-90FA-4009-9CE5-461AC4737CFD}" dt="2023-11-03T09:22:00.353" v="17"/>
          <ac:spMkLst>
            <pc:docMk/>
            <pc:sldMk cId="2229937604" sldId="976"/>
            <ac:spMk id="2" creationId="{6F036B89-99D5-0FBB-6890-B32D2192D9BA}"/>
          </ac:spMkLst>
        </pc:spChg>
        <pc:spChg chg="del">
          <ac:chgData name="VU Dong Quan (SAFRAN)" userId="S::dong-quan.vu@safrangroup.com::dc143bd2-9eac-4548-995a-71ae903870e1" providerId="AD" clId="Web-{705CCA03-90FA-4009-9CE5-461AC4737CFD}" dt="2023-11-03T09:21:50.321" v="14"/>
          <ac:spMkLst>
            <pc:docMk/>
            <pc:sldMk cId="2229937604" sldId="976"/>
            <ac:spMk id="4" creationId="{98CB9DD5-A1F3-FE61-4537-5C7ED66B5843}"/>
          </ac:spMkLst>
        </pc:spChg>
        <pc:picChg chg="add del mod">
          <ac:chgData name="VU Dong Quan (SAFRAN)" userId="S::dong-quan.vu@safrangroup.com::dc143bd2-9eac-4548-995a-71ae903870e1" providerId="AD" clId="Web-{705CCA03-90FA-4009-9CE5-461AC4737CFD}" dt="2023-11-03T09:21:58.556" v="16"/>
          <ac:picMkLst>
            <pc:docMk/>
            <pc:sldMk cId="2229937604" sldId="976"/>
            <ac:picMk id="5" creationId="{B70D861B-521F-D597-FA3F-83DEBFE4BA4E}"/>
          </ac:picMkLst>
        </pc:picChg>
        <pc:picChg chg="add del mod">
          <ac:chgData name="VU Dong Quan (SAFRAN)" userId="S::dong-quan.vu@safrangroup.com::dc143bd2-9eac-4548-995a-71ae903870e1" providerId="AD" clId="Web-{705CCA03-90FA-4009-9CE5-461AC4737CFD}" dt="2023-11-03T09:22:27.307" v="22"/>
          <ac:picMkLst>
            <pc:docMk/>
            <pc:sldMk cId="2229937604" sldId="976"/>
            <ac:picMk id="6" creationId="{EF7A479A-2794-6CAE-14ED-1B295B470AF2}"/>
          </ac:picMkLst>
        </pc:picChg>
        <pc:picChg chg="add mod">
          <ac:chgData name="VU Dong Quan (SAFRAN)" userId="S::dong-quan.vu@safrangroup.com::dc143bd2-9eac-4548-995a-71ae903870e1" providerId="AD" clId="Web-{705CCA03-90FA-4009-9CE5-461AC4737CFD}" dt="2023-11-03T09:23:12.746" v="28" actId="14100"/>
          <ac:picMkLst>
            <pc:docMk/>
            <pc:sldMk cId="2229937604" sldId="976"/>
            <ac:picMk id="7" creationId="{6D0C4629-F7BA-CDEA-217C-2F93D4A786D3}"/>
          </ac:picMkLst>
        </pc:picChg>
      </pc:sldChg>
      <pc:sldChg chg="addSp delSp modSp new">
        <pc:chgData name="VU Dong Quan (SAFRAN)" userId="S::dong-quan.vu@safrangroup.com::dc143bd2-9eac-4548-995a-71ae903870e1" providerId="AD" clId="Web-{705CCA03-90FA-4009-9CE5-461AC4737CFD}" dt="2023-11-03T09:34:55.180" v="923" actId="20577"/>
        <pc:sldMkLst>
          <pc:docMk/>
          <pc:sldMk cId="15107407" sldId="977"/>
        </pc:sldMkLst>
        <pc:spChg chg="mod">
          <ac:chgData name="VU Dong Quan (SAFRAN)" userId="S::dong-quan.vu@safrangroup.com::dc143bd2-9eac-4548-995a-71ae903870e1" providerId="AD" clId="Web-{705CCA03-90FA-4009-9CE5-461AC4737CFD}" dt="2023-11-03T09:34:55.180" v="923" actId="20577"/>
          <ac:spMkLst>
            <pc:docMk/>
            <pc:sldMk cId="15107407" sldId="977"/>
            <ac:spMk id="2" creationId="{0FB57298-1CBE-A0CE-2373-70B66CED8E75}"/>
          </ac:spMkLst>
        </pc:spChg>
        <pc:spChg chg="del">
          <ac:chgData name="VU Dong Quan (SAFRAN)" userId="S::dong-quan.vu@safrangroup.com::dc143bd2-9eac-4548-995a-71ae903870e1" providerId="AD" clId="Web-{705CCA03-90FA-4009-9CE5-461AC4737CFD}" dt="2023-11-03T09:25:32.767" v="35"/>
          <ac:spMkLst>
            <pc:docMk/>
            <pc:sldMk cId="15107407" sldId="977"/>
            <ac:spMk id="4" creationId="{F4225589-75A7-6D31-66F1-88EB9B0BC9F5}"/>
          </ac:spMkLst>
        </pc:spChg>
        <pc:spChg chg="add del mod">
          <ac:chgData name="VU Dong Quan (SAFRAN)" userId="S::dong-quan.vu@safrangroup.com::dc143bd2-9eac-4548-995a-71ae903870e1" providerId="AD" clId="Web-{705CCA03-90FA-4009-9CE5-461AC4737CFD}" dt="2023-11-03T09:34:27.054" v="893"/>
          <ac:spMkLst>
            <pc:docMk/>
            <pc:sldMk cId="15107407" sldId="977"/>
            <ac:spMk id="5" creationId="{5C4C2532-CECF-72C5-DB78-882EAD40AF1F}"/>
          </ac:spMkLst>
        </pc:spChg>
        <pc:graphicFrameChg chg="add mod modGraphic">
          <ac:chgData name="VU Dong Quan (SAFRAN)" userId="S::dong-quan.vu@safrangroup.com::dc143bd2-9eac-4548-995a-71ae903870e1" providerId="AD" clId="Web-{705CCA03-90FA-4009-9CE5-461AC4737CFD}" dt="2023-11-03T09:34:36.804" v="894" actId="1076"/>
          <ac:graphicFrameMkLst>
            <pc:docMk/>
            <pc:sldMk cId="15107407" sldId="977"/>
            <ac:graphicFrameMk id="6" creationId="{6E8E6F31-0594-D5F8-A367-A8E73481BBC2}"/>
          </ac:graphicFrameMkLst>
        </pc:graphicFrameChg>
      </pc:sldChg>
    </pc:docChg>
  </pc:docChgLst>
  <pc:docChgLst>
    <pc:chgData name="VU Dong Quan (SAFRAN)" userId="S::dong-quan.vu@safrangroup.com::dc143bd2-9eac-4548-995a-71ae903870e1" providerId="AD" clId="Web-{68729AB2-9DF3-45B4-95B9-842477FA43FD}"/>
    <pc:docChg chg="delSld modSld">
      <pc:chgData name="VU Dong Quan (SAFRAN)" userId="S::dong-quan.vu@safrangroup.com::dc143bd2-9eac-4548-995a-71ae903870e1" providerId="AD" clId="Web-{68729AB2-9DF3-45B4-95B9-842477FA43FD}" dt="2023-11-03T09:04:03.231" v="164" actId="1076"/>
      <pc:docMkLst>
        <pc:docMk/>
      </pc:docMkLst>
      <pc:sldChg chg="modSp">
        <pc:chgData name="VU Dong Quan (SAFRAN)" userId="S::dong-quan.vu@safrangroup.com::dc143bd2-9eac-4548-995a-71ae903870e1" providerId="AD" clId="Web-{68729AB2-9DF3-45B4-95B9-842477FA43FD}" dt="2023-11-03T08:47:58.683" v="12" actId="20577"/>
        <pc:sldMkLst>
          <pc:docMk/>
          <pc:sldMk cId="1207567585" sldId="840"/>
        </pc:sldMkLst>
        <pc:spChg chg="mod">
          <ac:chgData name="VU Dong Quan (SAFRAN)" userId="S::dong-quan.vu@safrangroup.com::dc143bd2-9eac-4548-995a-71ae903870e1" providerId="AD" clId="Web-{68729AB2-9DF3-45B4-95B9-842477FA43FD}" dt="2023-11-03T08:47:58.683" v="12" actId="20577"/>
          <ac:spMkLst>
            <pc:docMk/>
            <pc:sldMk cId="1207567585" sldId="840"/>
            <ac:spMk id="3" creationId="{00000000-0000-0000-0000-000000000000}"/>
          </ac:spMkLst>
        </pc:spChg>
      </pc:sldChg>
      <pc:sldChg chg="modSp">
        <pc:chgData name="VU Dong Quan (SAFRAN)" userId="S::dong-quan.vu@safrangroup.com::dc143bd2-9eac-4548-995a-71ae903870e1" providerId="AD" clId="Web-{68729AB2-9DF3-45B4-95B9-842477FA43FD}" dt="2023-11-03T08:48:45.966" v="18" actId="20577"/>
        <pc:sldMkLst>
          <pc:docMk/>
          <pc:sldMk cId="3490574068" sldId="895"/>
        </pc:sldMkLst>
        <pc:spChg chg="mod">
          <ac:chgData name="VU Dong Quan (SAFRAN)" userId="S::dong-quan.vu@safrangroup.com::dc143bd2-9eac-4548-995a-71ae903870e1" providerId="AD" clId="Web-{68729AB2-9DF3-45B4-95B9-842477FA43FD}" dt="2023-11-03T08:48:45.966" v="18" actId="20577"/>
          <ac:spMkLst>
            <pc:docMk/>
            <pc:sldMk cId="3490574068" sldId="895"/>
            <ac:spMk id="22" creationId="{7954B7BA-2236-27D2-8293-6903062AFB47}"/>
          </ac:spMkLst>
        </pc:spChg>
      </pc:sldChg>
      <pc:sldChg chg="modSp">
        <pc:chgData name="VU Dong Quan (SAFRAN)" userId="S::dong-quan.vu@safrangroup.com::dc143bd2-9eac-4548-995a-71ae903870e1" providerId="AD" clId="Web-{68729AB2-9DF3-45B4-95B9-842477FA43FD}" dt="2023-11-03T08:48:07.074" v="17" actId="20577"/>
        <pc:sldMkLst>
          <pc:docMk/>
          <pc:sldMk cId="1673938007" sldId="950"/>
        </pc:sldMkLst>
        <pc:spChg chg="mod">
          <ac:chgData name="VU Dong Quan (SAFRAN)" userId="S::dong-quan.vu@safrangroup.com::dc143bd2-9eac-4548-995a-71ae903870e1" providerId="AD" clId="Web-{68729AB2-9DF3-45B4-95B9-842477FA43FD}" dt="2023-11-03T08:48:07.074" v="17" actId="20577"/>
          <ac:spMkLst>
            <pc:docMk/>
            <pc:sldMk cId="1673938007" sldId="950"/>
            <ac:spMk id="10" creationId="{00000000-0000-0000-0000-000000000000}"/>
          </ac:spMkLst>
        </pc:spChg>
      </pc:sldChg>
      <pc:sldChg chg="addSp delSp modSp">
        <pc:chgData name="VU Dong Quan (SAFRAN)" userId="S::dong-quan.vu@safrangroup.com::dc143bd2-9eac-4548-995a-71ae903870e1" providerId="AD" clId="Web-{68729AB2-9DF3-45B4-95B9-842477FA43FD}" dt="2023-11-03T08:58:08.328" v="64" actId="20577"/>
        <pc:sldMkLst>
          <pc:docMk/>
          <pc:sldMk cId="3907546651" sldId="952"/>
        </pc:sldMkLst>
        <pc:spChg chg="mod">
          <ac:chgData name="VU Dong Quan (SAFRAN)" userId="S::dong-quan.vu@safrangroup.com::dc143bd2-9eac-4548-995a-71ae903870e1" providerId="AD" clId="Web-{68729AB2-9DF3-45B4-95B9-842477FA43FD}" dt="2023-11-03T08:57:05.561" v="47" actId="1076"/>
          <ac:spMkLst>
            <pc:docMk/>
            <pc:sldMk cId="3907546651" sldId="952"/>
            <ac:spMk id="7" creationId="{00000000-0000-0000-0000-000000000000}"/>
          </ac:spMkLst>
        </pc:spChg>
        <pc:spChg chg="mod">
          <ac:chgData name="VU Dong Quan (SAFRAN)" userId="S::dong-quan.vu@safrangroup.com::dc143bd2-9eac-4548-995a-71ae903870e1" providerId="AD" clId="Web-{68729AB2-9DF3-45B4-95B9-842477FA43FD}" dt="2023-11-03T08:57:14.624" v="50" actId="1076"/>
          <ac:spMkLst>
            <pc:docMk/>
            <pc:sldMk cId="3907546651" sldId="952"/>
            <ac:spMk id="10" creationId="{00000000-0000-0000-0000-000000000000}"/>
          </ac:spMkLst>
        </pc:spChg>
        <pc:spChg chg="del">
          <ac:chgData name="VU Dong Quan (SAFRAN)" userId="S::dong-quan.vu@safrangroup.com::dc143bd2-9eac-4548-995a-71ae903870e1" providerId="AD" clId="Web-{68729AB2-9DF3-45B4-95B9-842477FA43FD}" dt="2023-11-03T08:56:53.685" v="43"/>
          <ac:spMkLst>
            <pc:docMk/>
            <pc:sldMk cId="3907546651" sldId="952"/>
            <ac:spMk id="12" creationId="{66A15770-519E-EF4E-BC00-C649AADD6082}"/>
          </ac:spMkLst>
        </pc:spChg>
        <pc:spChg chg="del">
          <ac:chgData name="VU Dong Quan (SAFRAN)" userId="S::dong-quan.vu@safrangroup.com::dc143bd2-9eac-4548-995a-71ae903870e1" providerId="AD" clId="Web-{68729AB2-9DF3-45B4-95B9-842477FA43FD}" dt="2023-11-03T08:56:55.826" v="44"/>
          <ac:spMkLst>
            <pc:docMk/>
            <pc:sldMk cId="3907546651" sldId="952"/>
            <ac:spMk id="13" creationId="{38A883FC-0A04-B543-9F23-CCCCEB8FEBE1}"/>
          </ac:spMkLst>
        </pc:spChg>
        <pc:spChg chg="mod">
          <ac:chgData name="VU Dong Quan (SAFRAN)" userId="S::dong-quan.vu@safrangroup.com::dc143bd2-9eac-4548-995a-71ae903870e1" providerId="AD" clId="Web-{68729AB2-9DF3-45B4-95B9-842477FA43FD}" dt="2023-11-03T08:58:01.078" v="60"/>
          <ac:spMkLst>
            <pc:docMk/>
            <pc:sldMk cId="3907546651" sldId="952"/>
            <ac:spMk id="20" creationId="{F923B17B-9AC8-45CE-A81D-E688D8295071}"/>
          </ac:spMkLst>
        </pc:spChg>
        <pc:spChg chg="mod">
          <ac:chgData name="VU Dong Quan (SAFRAN)" userId="S::dong-quan.vu@safrangroup.com::dc143bd2-9eac-4548-995a-71ae903870e1" providerId="AD" clId="Web-{68729AB2-9DF3-45B4-95B9-842477FA43FD}" dt="2023-11-03T08:58:08.328" v="64" actId="20577"/>
          <ac:spMkLst>
            <pc:docMk/>
            <pc:sldMk cId="3907546651" sldId="952"/>
            <ac:spMk id="22" creationId="{B6BDB45D-AC27-44F7-BF72-DAB43953B43B}"/>
          </ac:spMkLst>
        </pc:spChg>
        <pc:spChg chg="mod">
          <ac:chgData name="VU Dong Quan (SAFRAN)" userId="S::dong-quan.vu@safrangroup.com::dc143bd2-9eac-4548-995a-71ae903870e1" providerId="AD" clId="Web-{68729AB2-9DF3-45B4-95B9-842477FA43FD}" dt="2023-11-03T08:58:01.203" v="61"/>
          <ac:spMkLst>
            <pc:docMk/>
            <pc:sldMk cId="3907546651" sldId="952"/>
            <ac:spMk id="23" creationId="{A4CE8A5D-ACEF-4407-A13A-031D8E011F17}"/>
          </ac:spMkLst>
        </pc:spChg>
        <pc:spChg chg="mod">
          <ac:chgData name="VU Dong Quan (SAFRAN)" userId="S::dong-quan.vu@safrangroup.com::dc143bd2-9eac-4548-995a-71ae903870e1" providerId="AD" clId="Web-{68729AB2-9DF3-45B4-95B9-842477FA43FD}" dt="2023-11-03T08:58:01.328" v="62"/>
          <ac:spMkLst>
            <pc:docMk/>
            <pc:sldMk cId="3907546651" sldId="952"/>
            <ac:spMk id="24" creationId="{1A9AC029-DE22-4C22-BE82-778B94987352}"/>
          </ac:spMkLst>
        </pc:spChg>
        <pc:grpChg chg="mod">
          <ac:chgData name="VU Dong Quan (SAFRAN)" userId="S::dong-quan.vu@safrangroup.com::dc143bd2-9eac-4548-995a-71ae903870e1" providerId="AD" clId="Web-{68729AB2-9DF3-45B4-95B9-842477FA43FD}" dt="2023-11-03T08:58:03.516" v="63" actId="14100"/>
          <ac:grpSpMkLst>
            <pc:docMk/>
            <pc:sldMk cId="3907546651" sldId="952"/>
            <ac:grpSpMk id="14" creationId="{C26C9920-2A01-4E0F-BDC0-38AD5B07EE6F}"/>
          </ac:grpSpMkLst>
        </pc:grpChg>
        <pc:picChg chg="add del mod">
          <ac:chgData name="VU Dong Quan (SAFRAN)" userId="S::dong-quan.vu@safrangroup.com::dc143bd2-9eac-4548-995a-71ae903870e1" providerId="AD" clId="Web-{68729AB2-9DF3-45B4-95B9-842477FA43FD}" dt="2023-11-03T08:57:00.295" v="46"/>
          <ac:picMkLst>
            <pc:docMk/>
            <pc:sldMk cId="3907546651" sldId="952"/>
            <ac:picMk id="2" creationId="{0862AD19-695C-0783-A8FE-D3E2A620AA82}"/>
          </ac:picMkLst>
        </pc:picChg>
        <pc:picChg chg="add mod">
          <ac:chgData name="VU Dong Quan (SAFRAN)" userId="S::dong-quan.vu@safrangroup.com::dc143bd2-9eac-4548-995a-71ae903870e1" providerId="AD" clId="Web-{68729AB2-9DF3-45B4-95B9-842477FA43FD}" dt="2023-11-03T08:57:42.515" v="57"/>
          <ac:picMkLst>
            <pc:docMk/>
            <pc:sldMk cId="3907546651" sldId="952"/>
            <ac:picMk id="4" creationId="{8EC73F1E-E4AC-4CA6-7CC7-F210A21BEE42}"/>
          </ac:picMkLst>
        </pc:picChg>
      </pc:sldChg>
      <pc:sldChg chg="modSp">
        <pc:chgData name="VU Dong Quan (SAFRAN)" userId="S::dong-quan.vu@safrangroup.com::dc143bd2-9eac-4548-995a-71ae903870e1" providerId="AD" clId="Web-{68729AB2-9DF3-45B4-95B9-842477FA43FD}" dt="2023-11-03T08:54:44.837" v="42" actId="20577"/>
        <pc:sldMkLst>
          <pc:docMk/>
          <pc:sldMk cId="183479040" sldId="955"/>
        </pc:sldMkLst>
        <pc:spChg chg="mod">
          <ac:chgData name="VU Dong Quan (SAFRAN)" userId="S::dong-quan.vu@safrangroup.com::dc143bd2-9eac-4548-995a-71ae903870e1" providerId="AD" clId="Web-{68729AB2-9DF3-45B4-95B9-842477FA43FD}" dt="2023-11-03T08:54:44.837" v="42" actId="20577"/>
          <ac:spMkLst>
            <pc:docMk/>
            <pc:sldMk cId="183479040" sldId="955"/>
            <ac:spMk id="15" creationId="{EB18C89A-0912-344F-83C2-D8FA0D9533F5}"/>
          </ac:spMkLst>
        </pc:spChg>
      </pc:sldChg>
      <pc:sldChg chg="modSp">
        <pc:chgData name="VU Dong Quan (SAFRAN)" userId="S::dong-quan.vu@safrangroup.com::dc143bd2-9eac-4548-995a-71ae903870e1" providerId="AD" clId="Web-{68729AB2-9DF3-45B4-95B9-842477FA43FD}" dt="2023-11-03T08:59:53.988" v="72" actId="20577"/>
        <pc:sldMkLst>
          <pc:docMk/>
          <pc:sldMk cId="3597060348" sldId="967"/>
        </pc:sldMkLst>
        <pc:spChg chg="mod">
          <ac:chgData name="VU Dong Quan (SAFRAN)" userId="S::dong-quan.vu@safrangroup.com::dc143bd2-9eac-4548-995a-71ae903870e1" providerId="AD" clId="Web-{68729AB2-9DF3-45B4-95B9-842477FA43FD}" dt="2023-11-03T08:59:46.957" v="67" actId="20577"/>
          <ac:spMkLst>
            <pc:docMk/>
            <pc:sldMk cId="3597060348" sldId="967"/>
            <ac:spMk id="15" creationId="{00000000-0000-0000-0000-000000000000}"/>
          </ac:spMkLst>
        </pc:spChg>
        <pc:spChg chg="mod">
          <ac:chgData name="VU Dong Quan (SAFRAN)" userId="S::dong-quan.vu@safrangroup.com::dc143bd2-9eac-4548-995a-71ae903870e1" providerId="AD" clId="Web-{68729AB2-9DF3-45B4-95B9-842477FA43FD}" dt="2023-11-03T08:59:53.988" v="72" actId="20577"/>
          <ac:spMkLst>
            <pc:docMk/>
            <pc:sldMk cId="3597060348" sldId="967"/>
            <ac:spMk id="16" creationId="{00000000-0000-0000-0000-000000000000}"/>
          </ac:spMkLst>
        </pc:spChg>
      </pc:sldChg>
      <pc:sldChg chg="modSp">
        <pc:chgData name="VU Dong Quan (SAFRAN)" userId="S::dong-quan.vu@safrangroup.com::dc143bd2-9eac-4548-995a-71ae903870e1" providerId="AD" clId="Web-{68729AB2-9DF3-45B4-95B9-842477FA43FD}" dt="2023-11-03T09:04:03.231" v="164" actId="1076"/>
        <pc:sldMkLst>
          <pc:docMk/>
          <pc:sldMk cId="1841092784" sldId="970"/>
        </pc:sldMkLst>
        <pc:spChg chg="mod">
          <ac:chgData name="VU Dong Quan (SAFRAN)" userId="S::dong-quan.vu@safrangroup.com::dc143bd2-9eac-4548-995a-71ae903870e1" providerId="AD" clId="Web-{68729AB2-9DF3-45B4-95B9-842477FA43FD}" dt="2023-11-03T09:04:03.231" v="164" actId="1076"/>
          <ac:spMkLst>
            <pc:docMk/>
            <pc:sldMk cId="1841092784" sldId="970"/>
            <ac:spMk id="4" creationId="{00000000-0000-0000-0000-000000000000}"/>
          </ac:spMkLst>
        </pc:spChg>
      </pc:sldChg>
      <pc:sldChg chg="addSp modSp">
        <pc:chgData name="VU Dong Quan (SAFRAN)" userId="S::dong-quan.vu@safrangroup.com::dc143bd2-9eac-4548-995a-71ae903870e1" providerId="AD" clId="Web-{68729AB2-9DF3-45B4-95B9-842477FA43FD}" dt="2023-11-03T09:01:36.867" v="90" actId="1076"/>
        <pc:sldMkLst>
          <pc:docMk/>
          <pc:sldMk cId="680531420" sldId="971"/>
        </pc:sldMkLst>
        <pc:spChg chg="mod">
          <ac:chgData name="VU Dong Quan (SAFRAN)" userId="S::dong-quan.vu@safrangroup.com::dc143bd2-9eac-4548-995a-71ae903870e1" providerId="AD" clId="Web-{68729AB2-9DF3-45B4-95B9-842477FA43FD}" dt="2023-11-03T09:01:10.303" v="86" actId="20577"/>
          <ac:spMkLst>
            <pc:docMk/>
            <pc:sldMk cId="680531420" sldId="971"/>
            <ac:spMk id="6" creationId="{00000000-0000-0000-0000-000000000000}"/>
          </ac:spMkLst>
        </pc:spChg>
        <pc:graphicFrameChg chg="mod">
          <ac:chgData name="VU Dong Quan (SAFRAN)" userId="S::dong-quan.vu@safrangroup.com::dc143bd2-9eac-4548-995a-71ae903870e1" providerId="AD" clId="Web-{68729AB2-9DF3-45B4-95B9-842477FA43FD}" dt="2023-11-03T09:01:36.867" v="90" actId="1076"/>
          <ac:graphicFrameMkLst>
            <pc:docMk/>
            <pc:sldMk cId="680531420" sldId="971"/>
            <ac:graphicFrameMk id="5" creationId="{00000000-0000-0000-0000-000000000000}"/>
          </ac:graphicFrameMkLst>
        </pc:graphicFrameChg>
        <pc:picChg chg="add mod">
          <ac:chgData name="VU Dong Quan (SAFRAN)" userId="S::dong-quan.vu@safrangroup.com::dc143bd2-9eac-4548-995a-71ae903870e1" providerId="AD" clId="Web-{68729AB2-9DF3-45B4-95B9-842477FA43FD}" dt="2023-11-03T09:01:28.679" v="88" actId="1076"/>
          <ac:picMkLst>
            <pc:docMk/>
            <pc:sldMk cId="680531420" sldId="971"/>
            <ac:picMk id="4" creationId="{2788DCF5-1B67-4589-54FC-944C0416CDDA}"/>
          </ac:picMkLst>
        </pc:picChg>
        <pc:picChg chg="add mod">
          <ac:chgData name="VU Dong Quan (SAFRAN)" userId="S::dong-quan.vu@safrangroup.com::dc143bd2-9eac-4548-995a-71ae903870e1" providerId="AD" clId="Web-{68729AB2-9DF3-45B4-95B9-842477FA43FD}" dt="2023-11-03T09:01:31.648" v="89" actId="1076"/>
          <ac:picMkLst>
            <pc:docMk/>
            <pc:sldMk cId="680531420" sldId="971"/>
            <ac:picMk id="7" creationId="{7BFBC7DF-1923-2861-68FA-64D34D9F46DF}"/>
          </ac:picMkLst>
        </pc:picChg>
      </pc:sldChg>
      <pc:sldChg chg="addSp delSp modSp del">
        <pc:chgData name="VU Dong Quan (SAFRAN)" userId="S::dong-quan.vu@safrangroup.com::dc143bd2-9eac-4548-995a-71ae903870e1" providerId="AD" clId="Web-{68729AB2-9DF3-45B4-95B9-842477FA43FD}" dt="2023-11-03T09:02:00.539" v="91"/>
        <pc:sldMkLst>
          <pc:docMk/>
          <pc:sldMk cId="2711262632" sldId="976"/>
        </pc:sldMkLst>
        <pc:spChg chg="add mod">
          <ac:chgData name="VU Dong Quan (SAFRAN)" userId="S::dong-quan.vu@safrangroup.com::dc143bd2-9eac-4548-995a-71ae903870e1" providerId="AD" clId="Web-{68729AB2-9DF3-45B4-95B9-842477FA43FD}" dt="2023-11-03T09:00:46.662" v="81"/>
          <ac:spMkLst>
            <pc:docMk/>
            <pc:sldMk cId="2711262632" sldId="976"/>
            <ac:spMk id="5" creationId="{D39C914D-9DE7-929E-F8FA-92B88547E6E4}"/>
          </ac:spMkLst>
        </pc:spChg>
        <pc:picChg chg="del">
          <ac:chgData name="VU Dong Quan (SAFRAN)" userId="S::dong-quan.vu@safrangroup.com::dc143bd2-9eac-4548-995a-71ae903870e1" providerId="AD" clId="Web-{68729AB2-9DF3-45B4-95B9-842477FA43FD}" dt="2023-11-03T09:00:46.662" v="81"/>
          <ac:picMkLst>
            <pc:docMk/>
            <pc:sldMk cId="2711262632" sldId="976"/>
            <ac:picMk id="6" creationId="{59809C83-9E1F-033F-6EF2-44ED3A2B2531}"/>
          </ac:picMkLst>
        </pc:picChg>
      </pc:sldChg>
      <pc:sldChg chg="del">
        <pc:chgData name="VU Dong Quan (SAFRAN)" userId="S::dong-quan.vu@safrangroup.com::dc143bd2-9eac-4548-995a-71ae903870e1" providerId="AD" clId="Web-{68729AB2-9DF3-45B4-95B9-842477FA43FD}" dt="2023-11-03T09:02:04.696" v="92"/>
        <pc:sldMkLst>
          <pc:docMk/>
          <pc:sldMk cId="1231045154" sldId="977"/>
        </pc:sldMkLst>
      </pc:sldChg>
    </pc:docChg>
  </pc:docChgLst>
  <pc:docChgLst>
    <pc:chgData name="BERTHOU Celine (SAFRAN)" userId="S::celine.berthou@safrangroup.com::9bb17291-f45a-490c-9077-6d1496bddd85" providerId="AD" clId="Web-{7ADDFB80-39BC-4EB9-A03A-A1D305E4F21A}"/>
    <pc:docChg chg="modSld">
      <pc:chgData name="BERTHOU Celine (SAFRAN)" userId="S::celine.berthou@safrangroup.com::9bb17291-f45a-490c-9077-6d1496bddd85" providerId="AD" clId="Web-{7ADDFB80-39BC-4EB9-A03A-A1D305E4F21A}" dt="2023-11-03T09:25:12.125" v="29" actId="20577"/>
      <pc:docMkLst>
        <pc:docMk/>
      </pc:docMkLst>
      <pc:sldChg chg="modSp">
        <pc:chgData name="BERTHOU Celine (SAFRAN)" userId="S::celine.berthou@safrangroup.com::9bb17291-f45a-490c-9077-6d1496bddd85" providerId="AD" clId="Web-{7ADDFB80-39BC-4EB9-A03A-A1D305E4F21A}" dt="2023-11-03T09:21:44.898" v="1" actId="1076"/>
        <pc:sldMkLst>
          <pc:docMk/>
          <pc:sldMk cId="1605455865" sldId="972"/>
        </pc:sldMkLst>
        <pc:spChg chg="mod">
          <ac:chgData name="BERTHOU Celine (SAFRAN)" userId="S::celine.berthou@safrangroup.com::9bb17291-f45a-490c-9077-6d1496bddd85" providerId="AD" clId="Web-{7ADDFB80-39BC-4EB9-A03A-A1D305E4F21A}" dt="2023-11-03T09:21:44.898" v="1" actId="1076"/>
          <ac:spMkLst>
            <pc:docMk/>
            <pc:sldMk cId="1605455865" sldId="972"/>
            <ac:spMk id="4" creationId="{00000000-0000-0000-0000-000000000000}"/>
          </ac:spMkLst>
        </pc:spChg>
      </pc:sldChg>
      <pc:sldChg chg="modSp">
        <pc:chgData name="BERTHOU Celine (SAFRAN)" userId="S::celine.berthou@safrangroup.com::9bb17291-f45a-490c-9077-6d1496bddd85" providerId="AD" clId="Web-{7ADDFB80-39BC-4EB9-A03A-A1D305E4F21A}" dt="2023-11-03T09:23:36.793" v="12" actId="20577"/>
        <pc:sldMkLst>
          <pc:docMk/>
          <pc:sldMk cId="121708418" sldId="973"/>
        </pc:sldMkLst>
        <pc:spChg chg="mod">
          <ac:chgData name="BERTHOU Celine (SAFRAN)" userId="S::celine.berthou@safrangroup.com::9bb17291-f45a-490c-9077-6d1496bddd85" providerId="AD" clId="Web-{7ADDFB80-39BC-4EB9-A03A-A1D305E4F21A}" dt="2023-11-03T09:22:49.994" v="10" actId="20577"/>
          <ac:spMkLst>
            <pc:docMk/>
            <pc:sldMk cId="121708418" sldId="973"/>
            <ac:spMk id="2" creationId="{00000000-0000-0000-0000-000000000000}"/>
          </ac:spMkLst>
        </pc:spChg>
        <pc:spChg chg="mod">
          <ac:chgData name="BERTHOU Celine (SAFRAN)" userId="S::celine.berthou@safrangroup.com::9bb17291-f45a-490c-9077-6d1496bddd85" providerId="AD" clId="Web-{7ADDFB80-39BC-4EB9-A03A-A1D305E4F21A}" dt="2023-11-03T09:23:36.793" v="12" actId="20577"/>
          <ac:spMkLst>
            <pc:docMk/>
            <pc:sldMk cId="121708418" sldId="973"/>
            <ac:spMk id="4" creationId="{00000000-0000-0000-0000-000000000000}"/>
          </ac:spMkLst>
        </pc:spChg>
      </pc:sldChg>
      <pc:sldChg chg="modSp">
        <pc:chgData name="BERTHOU Celine (SAFRAN)" userId="S::celine.berthou@safrangroup.com::9bb17291-f45a-490c-9077-6d1496bddd85" providerId="AD" clId="Web-{7ADDFB80-39BC-4EB9-A03A-A1D305E4F21A}" dt="2023-11-03T09:25:12.125" v="29" actId="20577"/>
        <pc:sldMkLst>
          <pc:docMk/>
          <pc:sldMk cId="3088591055" sldId="975"/>
        </pc:sldMkLst>
        <pc:spChg chg="mod">
          <ac:chgData name="BERTHOU Celine (SAFRAN)" userId="S::celine.berthou@safrangroup.com::9bb17291-f45a-490c-9077-6d1496bddd85" providerId="AD" clId="Web-{7ADDFB80-39BC-4EB9-A03A-A1D305E4F21A}" dt="2023-11-03T09:25:12.125" v="29" actId="20577"/>
          <ac:spMkLst>
            <pc:docMk/>
            <pc:sldMk cId="3088591055" sldId="975"/>
            <ac:spMk id="4" creationId="{00000000-0000-0000-0000-000000000000}"/>
          </ac:spMkLst>
        </pc:spChg>
      </pc:sldChg>
    </pc:docChg>
  </pc:docChgLst>
  <pc:docChgLst>
    <pc:chgData name="BERTHOU Celine (SAFRAN)" userId="S::celine.berthou@safrangroup.com::9bb17291-f45a-490c-9077-6d1496bddd85" providerId="AD" clId="Web-{C8B95E89-9DC3-4F6C-9770-69D3B3A452FF}"/>
    <pc:docChg chg="modSld">
      <pc:chgData name="BERTHOU Celine (SAFRAN)" userId="S::celine.berthou@safrangroup.com::9bb17291-f45a-490c-9077-6d1496bddd85" providerId="AD" clId="Web-{C8B95E89-9DC3-4F6C-9770-69D3B3A452FF}" dt="2023-11-03T09:34:22.519" v="38" actId="1076"/>
      <pc:docMkLst>
        <pc:docMk/>
      </pc:docMkLst>
      <pc:sldChg chg="modSp">
        <pc:chgData name="BERTHOU Celine (SAFRAN)" userId="S::celine.berthou@safrangroup.com::9bb17291-f45a-490c-9077-6d1496bddd85" providerId="AD" clId="Web-{C8B95E89-9DC3-4F6C-9770-69D3B3A452FF}" dt="2023-11-03T09:34:22.519" v="38" actId="1076"/>
        <pc:sldMkLst>
          <pc:docMk/>
          <pc:sldMk cId="680531420" sldId="971"/>
        </pc:sldMkLst>
        <pc:spChg chg="mod">
          <ac:chgData name="BERTHOU Celine (SAFRAN)" userId="S::celine.berthou@safrangroup.com::9bb17291-f45a-490c-9077-6d1496bddd85" providerId="AD" clId="Web-{C8B95E89-9DC3-4F6C-9770-69D3B3A452FF}" dt="2023-11-03T09:34:22.519" v="38" actId="1076"/>
          <ac:spMkLst>
            <pc:docMk/>
            <pc:sldMk cId="680531420" sldId="971"/>
            <ac:spMk id="6" creationId="{00000000-0000-0000-0000-000000000000}"/>
          </ac:spMkLst>
        </pc:spChg>
      </pc:sldChg>
    </pc:docChg>
  </pc:docChgLst>
  <pc:docChgLst>
    <pc:chgData name="BERTHOU Celine (SAFRAN)" userId="S::celine.berthou@safrangroup.com::9bb17291-f45a-490c-9077-6d1496bddd85" providerId="AD" clId="Web-{40C95439-F446-48D0-80BD-157E8533A542}"/>
    <pc:docChg chg="modSld">
      <pc:chgData name="BERTHOU Celine (SAFRAN)" userId="S::celine.berthou@safrangroup.com::9bb17291-f45a-490c-9077-6d1496bddd85" providerId="AD" clId="Web-{40C95439-F446-48D0-80BD-157E8533A542}" dt="2023-11-03T09:00:45.652" v="119" actId="20577"/>
      <pc:docMkLst>
        <pc:docMk/>
      </pc:docMkLst>
      <pc:sldChg chg="modSp">
        <pc:chgData name="BERTHOU Celine (SAFRAN)" userId="S::celine.berthou@safrangroup.com::9bb17291-f45a-490c-9077-6d1496bddd85" providerId="AD" clId="Web-{40C95439-F446-48D0-80BD-157E8533A542}" dt="2023-11-03T09:00:45.652" v="119" actId="20577"/>
        <pc:sldMkLst>
          <pc:docMk/>
          <pc:sldMk cId="1841092784" sldId="970"/>
        </pc:sldMkLst>
        <pc:spChg chg="mod">
          <ac:chgData name="BERTHOU Celine (SAFRAN)" userId="S::celine.berthou@safrangroup.com::9bb17291-f45a-490c-9077-6d1496bddd85" providerId="AD" clId="Web-{40C95439-F446-48D0-80BD-157E8533A542}" dt="2023-11-03T09:00:45.652" v="119" actId="20577"/>
          <ac:spMkLst>
            <pc:docMk/>
            <pc:sldMk cId="1841092784" sldId="970"/>
            <ac:spMk id="4" creationId="{00000000-0000-0000-0000-000000000000}"/>
          </ac:spMkLst>
        </pc:spChg>
      </pc:sldChg>
    </pc:docChg>
  </pc:docChgLst>
  <pc:docChgLst>
    <pc:chgData name="VU Dong Quan (SAFRAN)" userId="S::dong-quan.vu@safrangroup.com::dc143bd2-9eac-4548-995a-71ae903870e1" providerId="AD" clId="Web-{FE97BE43-F216-49EC-8078-59F0E5130B28}"/>
    <pc:docChg chg="modSld">
      <pc:chgData name="VU Dong Quan (SAFRAN)" userId="S::dong-quan.vu@safrangroup.com::dc143bd2-9eac-4548-995a-71ae903870e1" providerId="AD" clId="Web-{FE97BE43-F216-49EC-8078-59F0E5130B28}" dt="2023-11-03T09:56:14.050" v="71"/>
      <pc:docMkLst>
        <pc:docMk/>
      </pc:docMkLst>
      <pc:sldChg chg="modSp">
        <pc:chgData name="VU Dong Quan (SAFRAN)" userId="S::dong-quan.vu@safrangroup.com::dc143bd2-9eac-4548-995a-71ae903870e1" providerId="AD" clId="Web-{FE97BE43-F216-49EC-8078-59F0E5130B28}" dt="2023-11-03T09:56:14.050" v="71"/>
        <pc:sldMkLst>
          <pc:docMk/>
          <pc:sldMk cId="15107407" sldId="977"/>
        </pc:sldMkLst>
        <pc:graphicFrameChg chg="mod modGraphic">
          <ac:chgData name="VU Dong Quan (SAFRAN)" userId="S::dong-quan.vu@safrangroup.com::dc143bd2-9eac-4548-995a-71ae903870e1" providerId="AD" clId="Web-{FE97BE43-F216-49EC-8078-59F0E5130B28}" dt="2023-11-03T09:56:14.050" v="71"/>
          <ac:graphicFrameMkLst>
            <pc:docMk/>
            <pc:sldMk cId="15107407" sldId="977"/>
            <ac:graphicFrameMk id="6" creationId="{6E8E6F31-0594-D5F8-A367-A8E73481BBC2}"/>
          </ac:graphicFrameMkLst>
        </pc:graphicFrameChg>
      </pc:sldChg>
    </pc:docChg>
  </pc:docChgLst>
  <pc:docChgLst>
    <pc:chgData name="VU Dong Quan (SAFRAN)" userId="S::dong-quan.vu@safrangroup.com::dc143bd2-9eac-4548-995a-71ae903870e1" providerId="AD" clId="Web-{96B2E9FC-1581-4AE0-B94F-04BF570196FB}"/>
    <pc:docChg chg="modSld">
      <pc:chgData name="VU Dong Quan (SAFRAN)" userId="S::dong-quan.vu@safrangroup.com::dc143bd2-9eac-4548-995a-71ae903870e1" providerId="AD" clId="Web-{96B2E9FC-1581-4AE0-B94F-04BF570196FB}" dt="2023-11-03T09:46:33.044" v="43"/>
      <pc:docMkLst>
        <pc:docMk/>
      </pc:docMkLst>
      <pc:sldChg chg="modSp">
        <pc:chgData name="VU Dong Quan (SAFRAN)" userId="S::dong-quan.vu@safrangroup.com::dc143bd2-9eac-4548-995a-71ae903870e1" providerId="AD" clId="Web-{96B2E9FC-1581-4AE0-B94F-04BF570196FB}" dt="2023-11-03T09:46:33.044" v="43"/>
        <pc:sldMkLst>
          <pc:docMk/>
          <pc:sldMk cId="15107407" sldId="977"/>
        </pc:sldMkLst>
        <pc:graphicFrameChg chg="mod modGraphic">
          <ac:chgData name="VU Dong Quan (SAFRAN)" userId="S::dong-quan.vu@safrangroup.com::dc143bd2-9eac-4548-995a-71ae903870e1" providerId="AD" clId="Web-{96B2E9FC-1581-4AE0-B94F-04BF570196FB}" dt="2023-11-03T09:46:33.044" v="43"/>
          <ac:graphicFrameMkLst>
            <pc:docMk/>
            <pc:sldMk cId="15107407" sldId="977"/>
            <ac:graphicFrameMk id="6" creationId="{6E8E6F31-0594-D5F8-A367-A8E73481BBC2}"/>
          </ac:graphicFrameMkLst>
        </pc:graphicFrameChg>
      </pc:sldChg>
    </pc:docChg>
  </pc:docChgLst>
  <pc:docChgLst>
    <pc:chgData name="BERTHOU Celine (SAFRAN)" userId="S::celine.berthou@safrangroup.com::9bb17291-f45a-490c-9077-6d1496bddd85" providerId="AD" clId="Web-{CA320B85-AB87-418A-8250-5E4FCEF4A975}"/>
    <pc:docChg chg="modSld">
      <pc:chgData name="BERTHOU Celine (SAFRAN)" userId="S::celine.berthou@safrangroup.com::9bb17291-f45a-490c-9077-6d1496bddd85" providerId="AD" clId="Web-{CA320B85-AB87-418A-8250-5E4FCEF4A975}" dt="2023-11-03T08:49:47.180" v="92" actId="14100"/>
      <pc:docMkLst>
        <pc:docMk/>
      </pc:docMkLst>
      <pc:sldChg chg="modSp">
        <pc:chgData name="BERTHOU Celine (SAFRAN)" userId="S::celine.berthou@safrangroup.com::9bb17291-f45a-490c-9077-6d1496bddd85" providerId="AD" clId="Web-{CA320B85-AB87-418A-8250-5E4FCEF4A975}" dt="2023-11-03T08:49:47.180" v="92" actId="14100"/>
        <pc:sldMkLst>
          <pc:docMk/>
          <pc:sldMk cId="1841092784" sldId="970"/>
        </pc:sldMkLst>
        <pc:spChg chg="mod">
          <ac:chgData name="BERTHOU Celine (SAFRAN)" userId="S::celine.berthou@safrangroup.com::9bb17291-f45a-490c-9077-6d1496bddd85" providerId="AD" clId="Web-{CA320B85-AB87-418A-8250-5E4FCEF4A975}" dt="2023-11-03T08:49:47.180" v="92" actId="14100"/>
          <ac:spMkLst>
            <pc:docMk/>
            <pc:sldMk cId="1841092784" sldId="970"/>
            <ac:spMk id="4" creationId="{00000000-0000-0000-0000-000000000000}"/>
          </ac:spMkLst>
        </pc:spChg>
      </pc:sldChg>
    </pc:docChg>
  </pc:docChgLst>
  <pc:docChgLst>
    <pc:chgData name="BERTHOU Celine (SAFRAN)" userId="S::celine.berthou@safrangroup.com::9bb17291-f45a-490c-9077-6d1496bddd85" providerId="AD" clId="Web-{7072B95C-4067-46DC-95E4-0E332946F745}"/>
    <pc:docChg chg="addSld delSld modSld">
      <pc:chgData name="BERTHOU Celine (SAFRAN)" userId="S::celine.berthou@safrangroup.com::9bb17291-f45a-490c-9077-6d1496bddd85" providerId="AD" clId="Web-{7072B95C-4067-46DC-95E4-0E332946F745}" dt="2023-11-03T08:10:41.835" v="76"/>
      <pc:docMkLst>
        <pc:docMk/>
      </pc:docMkLst>
      <pc:sldChg chg="del">
        <pc:chgData name="BERTHOU Celine (SAFRAN)" userId="S::celine.berthou@safrangroup.com::9bb17291-f45a-490c-9077-6d1496bddd85" providerId="AD" clId="Web-{7072B95C-4067-46DC-95E4-0E332946F745}" dt="2023-11-03T08:03:45.630" v="38"/>
        <pc:sldMkLst>
          <pc:docMk/>
          <pc:sldMk cId="1458133188" sldId="953"/>
        </pc:sldMkLst>
      </pc:sldChg>
      <pc:sldChg chg="modSp">
        <pc:chgData name="BERTHOU Celine (SAFRAN)" userId="S::celine.berthou@safrangroup.com::9bb17291-f45a-490c-9077-6d1496bddd85" providerId="AD" clId="Web-{7072B95C-4067-46DC-95E4-0E332946F745}" dt="2023-11-03T08:08:21.110" v="65" actId="20577"/>
        <pc:sldMkLst>
          <pc:docMk/>
          <pc:sldMk cId="1841092784" sldId="970"/>
        </pc:sldMkLst>
        <pc:spChg chg="mod">
          <ac:chgData name="BERTHOU Celine (SAFRAN)" userId="S::celine.berthou@safrangroup.com::9bb17291-f45a-490c-9077-6d1496bddd85" providerId="AD" clId="Web-{7072B95C-4067-46DC-95E4-0E332946F745}" dt="2023-11-03T08:08:21.110" v="65" actId="20577"/>
          <ac:spMkLst>
            <pc:docMk/>
            <pc:sldMk cId="1841092784" sldId="970"/>
            <ac:spMk id="4" creationId="{00000000-0000-0000-0000-000000000000}"/>
          </ac:spMkLst>
        </pc:spChg>
      </pc:sldChg>
      <pc:sldChg chg="modSp">
        <pc:chgData name="BERTHOU Celine (SAFRAN)" userId="S::celine.berthou@safrangroup.com::9bb17291-f45a-490c-9077-6d1496bddd85" providerId="AD" clId="Web-{7072B95C-4067-46DC-95E4-0E332946F745}" dt="2023-11-03T08:05:22.884" v="39" actId="1076"/>
        <pc:sldMkLst>
          <pc:docMk/>
          <pc:sldMk cId="680531420" sldId="971"/>
        </pc:sldMkLst>
        <pc:spChg chg="mod">
          <ac:chgData name="BERTHOU Celine (SAFRAN)" userId="S::celine.berthou@safrangroup.com::9bb17291-f45a-490c-9077-6d1496bddd85" providerId="AD" clId="Web-{7072B95C-4067-46DC-95E4-0E332946F745}" dt="2023-11-03T07:55:24.204" v="6" actId="20577"/>
          <ac:spMkLst>
            <pc:docMk/>
            <pc:sldMk cId="680531420" sldId="971"/>
            <ac:spMk id="6" creationId="{00000000-0000-0000-0000-000000000000}"/>
          </ac:spMkLst>
        </pc:spChg>
        <pc:graphicFrameChg chg="mod">
          <ac:chgData name="BERTHOU Celine (SAFRAN)" userId="S::celine.berthou@safrangroup.com::9bb17291-f45a-490c-9077-6d1496bddd85" providerId="AD" clId="Web-{7072B95C-4067-46DC-95E4-0E332946F745}" dt="2023-11-03T08:05:22.884" v="39" actId="1076"/>
          <ac:graphicFrameMkLst>
            <pc:docMk/>
            <pc:sldMk cId="680531420" sldId="971"/>
            <ac:graphicFrameMk id="5" creationId="{00000000-0000-0000-0000-000000000000}"/>
          </ac:graphicFrameMkLst>
        </pc:graphicFrameChg>
      </pc:sldChg>
      <pc:sldChg chg="modSp">
        <pc:chgData name="BERTHOU Celine (SAFRAN)" userId="S::celine.berthou@safrangroup.com::9bb17291-f45a-490c-9077-6d1496bddd85" providerId="AD" clId="Web-{7072B95C-4067-46DC-95E4-0E332946F745}" dt="2023-11-03T07:59:25.307" v="37" actId="1076"/>
        <pc:sldMkLst>
          <pc:docMk/>
          <pc:sldMk cId="3088591055" sldId="975"/>
        </pc:sldMkLst>
        <pc:spChg chg="mod">
          <ac:chgData name="BERTHOU Celine (SAFRAN)" userId="S::celine.berthou@safrangroup.com::9bb17291-f45a-490c-9077-6d1496bddd85" providerId="AD" clId="Web-{7072B95C-4067-46DC-95E4-0E332946F745}" dt="2023-11-03T07:59:25.307" v="37" actId="1076"/>
          <ac:spMkLst>
            <pc:docMk/>
            <pc:sldMk cId="3088591055" sldId="975"/>
            <ac:spMk id="4" creationId="{00000000-0000-0000-0000-000000000000}"/>
          </ac:spMkLst>
        </pc:spChg>
      </pc:sldChg>
      <pc:sldChg chg="addSp delSp modSp new">
        <pc:chgData name="BERTHOU Celine (SAFRAN)" userId="S::celine.berthou@safrangroup.com::9bb17291-f45a-490c-9077-6d1496bddd85" providerId="AD" clId="Web-{7072B95C-4067-46DC-95E4-0E332946F745}" dt="2023-11-03T08:10:41.835" v="76"/>
        <pc:sldMkLst>
          <pc:docMk/>
          <pc:sldMk cId="2711262632" sldId="976"/>
        </pc:sldMkLst>
        <pc:spChg chg="mod">
          <ac:chgData name="BERTHOU Celine (SAFRAN)" userId="S::celine.berthou@safrangroup.com::9bb17291-f45a-490c-9077-6d1496bddd85" providerId="AD" clId="Web-{7072B95C-4067-46DC-95E4-0E332946F745}" dt="2023-11-03T08:08:32.517" v="69" actId="20577"/>
          <ac:spMkLst>
            <pc:docMk/>
            <pc:sldMk cId="2711262632" sldId="976"/>
            <ac:spMk id="2" creationId="{8B0BCB43-D5A4-A4E5-2EB5-58782AAFB660}"/>
          </ac:spMkLst>
        </pc:spChg>
        <pc:spChg chg="add del">
          <ac:chgData name="BERTHOU Celine (SAFRAN)" userId="S::celine.berthou@safrangroup.com::9bb17291-f45a-490c-9077-6d1496bddd85" providerId="AD" clId="Web-{7072B95C-4067-46DC-95E4-0E332946F745}" dt="2023-11-03T08:10:41.835" v="76"/>
          <ac:spMkLst>
            <pc:docMk/>
            <pc:sldMk cId="2711262632" sldId="976"/>
            <ac:spMk id="4" creationId="{F5D34769-1C0C-3A13-44CD-9CB495107451}"/>
          </ac:spMkLst>
        </pc:spChg>
        <pc:picChg chg="add del mod ord">
          <ac:chgData name="BERTHOU Celine (SAFRAN)" userId="S::celine.berthou@safrangroup.com::9bb17291-f45a-490c-9077-6d1496bddd85" providerId="AD" clId="Web-{7072B95C-4067-46DC-95E4-0E332946F745}" dt="2023-11-03T08:10:32.631" v="75"/>
          <ac:picMkLst>
            <pc:docMk/>
            <pc:sldMk cId="2711262632" sldId="976"/>
            <ac:picMk id="5" creationId="{2C157DD0-9EBA-3371-38FB-19E47E7A5176}"/>
          </ac:picMkLst>
        </pc:picChg>
        <pc:picChg chg="add mod ord">
          <ac:chgData name="BERTHOU Celine (SAFRAN)" userId="S::celine.berthou@safrangroup.com::9bb17291-f45a-490c-9077-6d1496bddd85" providerId="AD" clId="Web-{7072B95C-4067-46DC-95E4-0E332946F745}" dt="2023-11-03T08:10:41.835" v="76"/>
          <ac:picMkLst>
            <pc:docMk/>
            <pc:sldMk cId="2711262632" sldId="976"/>
            <ac:picMk id="6" creationId="{59809C83-9E1F-033F-6EF2-44ED3A2B2531}"/>
          </ac:picMkLst>
        </pc:picChg>
      </pc:sldChg>
      <pc:sldChg chg="modSp new">
        <pc:chgData name="BERTHOU Celine (SAFRAN)" userId="S::celine.berthou@safrangroup.com::9bb17291-f45a-490c-9077-6d1496bddd85" providerId="AD" clId="Web-{7072B95C-4067-46DC-95E4-0E332946F745}" dt="2023-11-03T08:08:41.330" v="73" actId="20577"/>
        <pc:sldMkLst>
          <pc:docMk/>
          <pc:sldMk cId="1231045154" sldId="977"/>
        </pc:sldMkLst>
        <pc:spChg chg="mod">
          <ac:chgData name="BERTHOU Celine (SAFRAN)" userId="S::celine.berthou@safrangroup.com::9bb17291-f45a-490c-9077-6d1496bddd85" providerId="AD" clId="Web-{7072B95C-4067-46DC-95E4-0E332946F745}" dt="2023-11-03T08:08:41.330" v="73" actId="20577"/>
          <ac:spMkLst>
            <pc:docMk/>
            <pc:sldMk cId="1231045154" sldId="977"/>
            <ac:spMk id="2" creationId="{9351400B-4890-8920-C2DB-27755D6FEEF9}"/>
          </ac:spMkLst>
        </pc:spChg>
      </pc:sldChg>
    </pc:docChg>
  </pc:docChgLst>
  <pc:docChgLst>
    <pc:chgData name="BERTHOU Celine (SAFRAN)" userId="S::celine.berthou@safrangroup.com::9bb17291-f45a-490c-9077-6d1496bddd85" providerId="AD" clId="Web-{F2EC60B7-FBC9-49DC-B03C-06D7D33C9558}"/>
    <pc:docChg chg="modSld">
      <pc:chgData name="BERTHOU Celine (SAFRAN)" userId="S::celine.berthou@safrangroup.com::9bb17291-f45a-490c-9077-6d1496bddd85" providerId="AD" clId="Web-{F2EC60B7-FBC9-49DC-B03C-06D7D33C9558}" dt="2023-11-03T09:17:37.620" v="181" actId="20577"/>
      <pc:docMkLst>
        <pc:docMk/>
      </pc:docMkLst>
      <pc:sldChg chg="modSp">
        <pc:chgData name="BERTHOU Celine (SAFRAN)" userId="S::celine.berthou@safrangroup.com::9bb17291-f45a-490c-9077-6d1496bddd85" providerId="AD" clId="Web-{F2EC60B7-FBC9-49DC-B03C-06D7D33C9558}" dt="2023-11-03T09:07:39.591" v="1" actId="20577"/>
        <pc:sldMkLst>
          <pc:docMk/>
          <pc:sldMk cId="1605455865" sldId="972"/>
        </pc:sldMkLst>
        <pc:spChg chg="mod">
          <ac:chgData name="BERTHOU Celine (SAFRAN)" userId="S::celine.berthou@safrangroup.com::9bb17291-f45a-490c-9077-6d1496bddd85" providerId="AD" clId="Web-{F2EC60B7-FBC9-49DC-B03C-06D7D33C9558}" dt="2023-11-03T09:07:39.591" v="1" actId="20577"/>
          <ac:spMkLst>
            <pc:docMk/>
            <pc:sldMk cId="1605455865" sldId="972"/>
            <ac:spMk id="4" creationId="{00000000-0000-0000-0000-000000000000}"/>
          </ac:spMkLst>
        </pc:spChg>
      </pc:sldChg>
      <pc:sldChg chg="modSp">
        <pc:chgData name="BERTHOU Celine (SAFRAN)" userId="S::celine.berthou@safrangroup.com::9bb17291-f45a-490c-9077-6d1496bddd85" providerId="AD" clId="Web-{F2EC60B7-FBC9-49DC-B03C-06D7D33C9558}" dt="2023-11-03T09:11:46.406" v="65" actId="20577"/>
        <pc:sldMkLst>
          <pc:docMk/>
          <pc:sldMk cId="121708418" sldId="973"/>
        </pc:sldMkLst>
        <pc:spChg chg="mod">
          <ac:chgData name="BERTHOU Celine (SAFRAN)" userId="S::celine.berthou@safrangroup.com::9bb17291-f45a-490c-9077-6d1496bddd85" providerId="AD" clId="Web-{F2EC60B7-FBC9-49DC-B03C-06D7D33C9558}" dt="2023-11-03T09:11:46.406" v="65" actId="20577"/>
          <ac:spMkLst>
            <pc:docMk/>
            <pc:sldMk cId="121708418" sldId="973"/>
            <ac:spMk id="4" creationId="{00000000-0000-0000-0000-000000000000}"/>
          </ac:spMkLst>
        </pc:spChg>
      </pc:sldChg>
      <pc:sldChg chg="modSp">
        <pc:chgData name="BERTHOU Celine (SAFRAN)" userId="S::celine.berthou@safrangroup.com::9bb17291-f45a-490c-9077-6d1496bddd85" providerId="AD" clId="Web-{F2EC60B7-FBC9-49DC-B03C-06D7D33C9558}" dt="2023-11-03T09:17:37.620" v="181" actId="20577"/>
        <pc:sldMkLst>
          <pc:docMk/>
          <pc:sldMk cId="3088591055" sldId="975"/>
        </pc:sldMkLst>
        <pc:spChg chg="mod">
          <ac:chgData name="BERTHOU Celine (SAFRAN)" userId="S::celine.berthou@safrangroup.com::9bb17291-f45a-490c-9077-6d1496bddd85" providerId="AD" clId="Web-{F2EC60B7-FBC9-49DC-B03C-06D7D33C9558}" dt="2023-11-03T09:17:37.620" v="181" actId="20577"/>
          <ac:spMkLst>
            <pc:docMk/>
            <pc:sldMk cId="3088591055" sldId="975"/>
            <ac:spMk id="4" creationId="{00000000-0000-0000-0000-000000000000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E64E8FF-DD7E-40F3-A88C-A70F10B273BF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F7A6CB5C-EF50-4612-949D-9FD3E0BC8A36}">
      <dgm:prSet phldrT="[Texte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noProof="0"/>
            <a:t>Software engineering and HPC</a:t>
          </a:r>
        </a:p>
      </dgm:t>
    </dgm:pt>
    <dgm:pt modelId="{824231B0-4B3C-463B-BD71-7EA5D6A5EDEF}" type="parTrans" cxnId="{E7969B45-FFB1-4370-B650-916CF6EAD8D2}">
      <dgm:prSet/>
      <dgm:spPr/>
      <dgm:t>
        <a:bodyPr/>
        <a:lstStyle/>
        <a:p>
          <a:endParaRPr lang="en-US" noProof="0"/>
        </a:p>
      </dgm:t>
    </dgm:pt>
    <dgm:pt modelId="{539EAF63-1B4C-46CC-BF26-6C83B40CCA11}" type="sibTrans" cxnId="{E7969B45-FFB1-4370-B650-916CF6EAD8D2}">
      <dgm:prSet/>
      <dgm:spPr/>
      <dgm:t>
        <a:bodyPr/>
        <a:lstStyle/>
        <a:p>
          <a:endParaRPr lang="en-US" noProof="0"/>
        </a:p>
      </dgm:t>
    </dgm:pt>
    <dgm:pt modelId="{608D5AA4-AF3E-4F6F-B399-6E7DD71B3286}">
      <dgm:prSet phldrT="[Texte]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b="0" i="0" noProof="0"/>
            <a:t>Software architecture</a:t>
          </a:r>
          <a:endParaRPr lang="en-US" noProof="0"/>
        </a:p>
      </dgm:t>
    </dgm:pt>
    <dgm:pt modelId="{7E043C14-5B35-4C29-AABF-68536398E749}" type="parTrans" cxnId="{6C04AEEF-CF10-441E-AD3E-4B8C0C9D4E3A}">
      <dgm:prSet/>
      <dgm:spPr/>
      <dgm:t>
        <a:bodyPr/>
        <a:lstStyle/>
        <a:p>
          <a:endParaRPr lang="en-US" noProof="0"/>
        </a:p>
      </dgm:t>
    </dgm:pt>
    <dgm:pt modelId="{C6F1F5E2-E43B-4E99-B9C0-84BB0DF6F457}" type="sibTrans" cxnId="{6C04AEEF-CF10-441E-AD3E-4B8C0C9D4E3A}">
      <dgm:prSet/>
      <dgm:spPr/>
      <dgm:t>
        <a:bodyPr/>
        <a:lstStyle/>
        <a:p>
          <a:endParaRPr lang="en-US" noProof="0"/>
        </a:p>
      </dgm:t>
    </dgm:pt>
    <dgm:pt modelId="{8C2BE1F1-363B-4C23-8E7B-CE065FC8BD33}">
      <dgm:prSet phldrT="[Texte]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noProof="0"/>
            <a:t>Software Development </a:t>
          </a:r>
        </a:p>
      </dgm:t>
    </dgm:pt>
    <dgm:pt modelId="{19502E06-B1EB-434B-B647-117A07BFADA0}" type="parTrans" cxnId="{20389354-9148-4393-B3E6-C2036CF131C3}">
      <dgm:prSet/>
      <dgm:spPr/>
      <dgm:t>
        <a:bodyPr/>
        <a:lstStyle/>
        <a:p>
          <a:endParaRPr lang="en-US" noProof="0"/>
        </a:p>
      </dgm:t>
    </dgm:pt>
    <dgm:pt modelId="{BB960E52-474E-4AE9-ACF8-32F506B853CF}" type="sibTrans" cxnId="{20389354-9148-4393-B3E6-C2036CF131C3}">
      <dgm:prSet/>
      <dgm:spPr/>
      <dgm:t>
        <a:bodyPr/>
        <a:lstStyle/>
        <a:p>
          <a:endParaRPr lang="en-US" noProof="0"/>
        </a:p>
      </dgm:t>
    </dgm:pt>
    <dgm:pt modelId="{0CCEEFAB-3083-4E81-BE52-D245CA683F36}">
      <dgm:prSet phldrT="[Texte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noProof="0"/>
            <a:t>Mathematics and  Algorithms</a:t>
          </a:r>
        </a:p>
      </dgm:t>
    </dgm:pt>
    <dgm:pt modelId="{BC68A496-E681-4003-9CFF-C9CF8B490CBB}" type="parTrans" cxnId="{63025A30-A251-4A5C-80A6-0680C4FD98AC}">
      <dgm:prSet/>
      <dgm:spPr/>
      <dgm:t>
        <a:bodyPr/>
        <a:lstStyle/>
        <a:p>
          <a:endParaRPr lang="en-US" noProof="0"/>
        </a:p>
      </dgm:t>
    </dgm:pt>
    <dgm:pt modelId="{A267EE60-B006-40FA-B6B1-D38ACD5CA1F4}" type="sibTrans" cxnId="{63025A30-A251-4A5C-80A6-0680C4FD98AC}">
      <dgm:prSet/>
      <dgm:spPr/>
      <dgm:t>
        <a:bodyPr/>
        <a:lstStyle/>
        <a:p>
          <a:endParaRPr lang="en-US" noProof="0"/>
        </a:p>
      </dgm:t>
    </dgm:pt>
    <dgm:pt modelId="{0AE8FFEC-6310-4239-B03F-1056CA97E5AF}">
      <dgm:prSet phldrT="[Texte]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noProof="0"/>
            <a:t>Mathematics and theoretical tools</a:t>
          </a:r>
        </a:p>
      </dgm:t>
    </dgm:pt>
    <dgm:pt modelId="{844E366C-4D53-4BD5-9D49-20457EA38629}" type="parTrans" cxnId="{5D9DF8BC-1A49-4B5F-B2A8-856E27FABA90}">
      <dgm:prSet/>
      <dgm:spPr/>
      <dgm:t>
        <a:bodyPr/>
        <a:lstStyle/>
        <a:p>
          <a:endParaRPr lang="en-US" noProof="0"/>
        </a:p>
      </dgm:t>
    </dgm:pt>
    <dgm:pt modelId="{D594CF9E-B738-478C-850D-967C8039B4CA}" type="sibTrans" cxnId="{5D9DF8BC-1A49-4B5F-B2A8-856E27FABA90}">
      <dgm:prSet/>
      <dgm:spPr/>
      <dgm:t>
        <a:bodyPr/>
        <a:lstStyle/>
        <a:p>
          <a:endParaRPr lang="en-US" noProof="0"/>
        </a:p>
      </dgm:t>
    </dgm:pt>
    <dgm:pt modelId="{0B41B23E-BDF4-4531-8055-EBD18E52A782}">
      <dgm:prSet phldrT="[Texte]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noProof="0"/>
            <a:t>Algorithms and applied science</a:t>
          </a:r>
        </a:p>
      </dgm:t>
    </dgm:pt>
    <dgm:pt modelId="{B34CEA44-2E7E-4491-88E9-50AE5536E462}" type="parTrans" cxnId="{B983272F-1372-4C9F-B265-409D54DD1459}">
      <dgm:prSet/>
      <dgm:spPr/>
      <dgm:t>
        <a:bodyPr/>
        <a:lstStyle/>
        <a:p>
          <a:endParaRPr lang="en-US" noProof="0"/>
        </a:p>
      </dgm:t>
    </dgm:pt>
    <dgm:pt modelId="{9BCFA2D6-151D-46BB-AE95-8A3F54194B57}" type="sibTrans" cxnId="{B983272F-1372-4C9F-B265-409D54DD1459}">
      <dgm:prSet/>
      <dgm:spPr/>
      <dgm:t>
        <a:bodyPr/>
        <a:lstStyle/>
        <a:p>
          <a:endParaRPr lang="en-US" noProof="0"/>
        </a:p>
      </dgm:t>
    </dgm:pt>
    <dgm:pt modelId="{51BD7369-5688-4648-92CF-7FD82ADA46AC}">
      <dgm:prSet phldrT="[Texte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noProof="0"/>
            <a:t>Physicals Models and simulation</a:t>
          </a:r>
        </a:p>
      </dgm:t>
    </dgm:pt>
    <dgm:pt modelId="{E5F5B286-4D49-438B-AF79-927C9F816137}" type="parTrans" cxnId="{C9D138EF-2001-4807-B4CC-4E30CF555322}">
      <dgm:prSet/>
      <dgm:spPr/>
      <dgm:t>
        <a:bodyPr/>
        <a:lstStyle/>
        <a:p>
          <a:endParaRPr lang="en-US" noProof="0"/>
        </a:p>
      </dgm:t>
    </dgm:pt>
    <dgm:pt modelId="{2D57A2DA-A7DE-4E07-AECB-3945AD81638B}" type="sibTrans" cxnId="{C9D138EF-2001-4807-B4CC-4E30CF555322}">
      <dgm:prSet/>
      <dgm:spPr/>
      <dgm:t>
        <a:bodyPr/>
        <a:lstStyle/>
        <a:p>
          <a:endParaRPr lang="en-US" noProof="0"/>
        </a:p>
      </dgm:t>
    </dgm:pt>
    <dgm:pt modelId="{22D9E693-A65A-4F8C-A055-189F2CE9DB42}">
      <dgm:prSet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noProof="0"/>
            <a:t>Mechanic and thermic of solids</a:t>
          </a:r>
        </a:p>
      </dgm:t>
    </dgm:pt>
    <dgm:pt modelId="{0FEA6BBA-EED3-40C7-8787-AC6C17EBBD4C}" type="parTrans" cxnId="{2E1BEEF8-65A2-44D2-BA69-822492157668}">
      <dgm:prSet/>
      <dgm:spPr/>
      <dgm:t>
        <a:bodyPr/>
        <a:lstStyle/>
        <a:p>
          <a:endParaRPr lang="en-US" noProof="0"/>
        </a:p>
      </dgm:t>
    </dgm:pt>
    <dgm:pt modelId="{2F6FD41E-5A6A-403F-845E-ED277E04F334}" type="sibTrans" cxnId="{2E1BEEF8-65A2-44D2-BA69-822492157668}">
      <dgm:prSet/>
      <dgm:spPr/>
      <dgm:t>
        <a:bodyPr/>
        <a:lstStyle/>
        <a:p>
          <a:endParaRPr lang="en-US" noProof="0"/>
        </a:p>
      </dgm:t>
    </dgm:pt>
    <dgm:pt modelId="{DA469455-0705-4BC7-92A8-02712D640F2B}">
      <dgm:prSet phldrT="[Texte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noProof="0"/>
            <a:t>Cyber-physics systems</a:t>
          </a:r>
        </a:p>
      </dgm:t>
    </dgm:pt>
    <dgm:pt modelId="{1E09C1C5-EF71-44DC-86F6-7DD46E78169C}" type="parTrans" cxnId="{2F689258-44FD-4D10-8F18-BAA731C51478}">
      <dgm:prSet/>
      <dgm:spPr/>
      <dgm:t>
        <a:bodyPr/>
        <a:lstStyle/>
        <a:p>
          <a:endParaRPr lang="en-US" noProof="0"/>
        </a:p>
      </dgm:t>
    </dgm:pt>
    <dgm:pt modelId="{72C4FC22-FCD4-494A-8A9F-EEC8A58B8BFD}" type="sibTrans" cxnId="{2F689258-44FD-4D10-8F18-BAA731C51478}">
      <dgm:prSet/>
      <dgm:spPr/>
      <dgm:t>
        <a:bodyPr/>
        <a:lstStyle/>
        <a:p>
          <a:endParaRPr lang="en-US" noProof="0"/>
        </a:p>
      </dgm:t>
    </dgm:pt>
    <dgm:pt modelId="{F31AF2DF-D411-46EF-8D72-CE26E5F65A3F}">
      <dgm:prSet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noProof="0"/>
            <a:t>Mechanic and thermic of fluids</a:t>
          </a:r>
        </a:p>
      </dgm:t>
    </dgm:pt>
    <dgm:pt modelId="{BB25B757-5A3D-456F-A089-3D88AE321CE9}" type="parTrans" cxnId="{9DD0CAB9-B4C6-458E-9B6A-ABE292A71CD0}">
      <dgm:prSet/>
      <dgm:spPr/>
      <dgm:t>
        <a:bodyPr/>
        <a:lstStyle/>
        <a:p>
          <a:endParaRPr lang="en-US" noProof="0"/>
        </a:p>
      </dgm:t>
    </dgm:pt>
    <dgm:pt modelId="{4872A2D7-ABE0-415A-8272-E7418A404F43}" type="sibTrans" cxnId="{9DD0CAB9-B4C6-458E-9B6A-ABE292A71CD0}">
      <dgm:prSet/>
      <dgm:spPr/>
      <dgm:t>
        <a:bodyPr/>
        <a:lstStyle/>
        <a:p>
          <a:endParaRPr lang="en-US" noProof="0"/>
        </a:p>
      </dgm:t>
    </dgm:pt>
    <dgm:pt modelId="{975E780E-656F-4454-BB4B-C37EB8C99BC0}">
      <dgm:prSet phldrT="[Texte]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noProof="0"/>
            <a:t>Sensors and physical measurement systems</a:t>
          </a:r>
        </a:p>
      </dgm:t>
    </dgm:pt>
    <dgm:pt modelId="{520E2820-78CF-406D-AB76-F6B8A16AD6D8}" type="parTrans" cxnId="{2A12E337-1D90-4400-8544-C1935852C03D}">
      <dgm:prSet/>
      <dgm:spPr/>
      <dgm:t>
        <a:bodyPr/>
        <a:lstStyle/>
        <a:p>
          <a:endParaRPr lang="en-US" noProof="0"/>
        </a:p>
      </dgm:t>
    </dgm:pt>
    <dgm:pt modelId="{2C1E7BA6-47F0-4091-B604-B517875054AF}" type="sibTrans" cxnId="{2A12E337-1D90-4400-8544-C1935852C03D}">
      <dgm:prSet/>
      <dgm:spPr/>
      <dgm:t>
        <a:bodyPr/>
        <a:lstStyle/>
        <a:p>
          <a:endParaRPr lang="en-US" noProof="0"/>
        </a:p>
      </dgm:t>
    </dgm:pt>
    <dgm:pt modelId="{B9BE8983-5032-4968-A103-E1054AAE8149}">
      <dgm:prSet phldrT="[Texte]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noProof="0"/>
            <a:t>Design, modelling and simulation of cyber-physics systems</a:t>
          </a:r>
        </a:p>
      </dgm:t>
    </dgm:pt>
    <dgm:pt modelId="{F9AE790D-EB31-4387-ABFA-8D8A3B726CC9}" type="parTrans" cxnId="{F82463D9-CF90-493E-B883-827E76EB6FC0}">
      <dgm:prSet/>
      <dgm:spPr/>
      <dgm:t>
        <a:bodyPr/>
        <a:lstStyle/>
        <a:p>
          <a:endParaRPr lang="en-US" noProof="0"/>
        </a:p>
      </dgm:t>
    </dgm:pt>
    <dgm:pt modelId="{CA7191BE-9141-4508-9C9A-985C171555D6}" type="sibTrans" cxnId="{F82463D9-CF90-493E-B883-827E76EB6FC0}">
      <dgm:prSet/>
      <dgm:spPr/>
      <dgm:t>
        <a:bodyPr/>
        <a:lstStyle/>
        <a:p>
          <a:endParaRPr lang="en-US" noProof="0"/>
        </a:p>
      </dgm:t>
    </dgm:pt>
    <dgm:pt modelId="{EDC6E3A3-BF77-4D1F-8402-4C1F4630B4EF}">
      <dgm:prSet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noProof="0"/>
            <a:t>Multi-physics systems</a:t>
          </a:r>
        </a:p>
      </dgm:t>
    </dgm:pt>
    <dgm:pt modelId="{A3C6640F-0901-4FD3-94E7-00A819295FCD}" type="parTrans" cxnId="{01B4AA8E-3FAC-4256-8EC5-480EFCABC0B9}">
      <dgm:prSet/>
      <dgm:spPr/>
      <dgm:t>
        <a:bodyPr/>
        <a:lstStyle/>
        <a:p>
          <a:endParaRPr lang="en-US" noProof="0"/>
        </a:p>
      </dgm:t>
    </dgm:pt>
    <dgm:pt modelId="{E7E90D46-A8FE-40E3-80FE-9C8CA921487A}" type="sibTrans" cxnId="{01B4AA8E-3FAC-4256-8EC5-480EFCABC0B9}">
      <dgm:prSet/>
      <dgm:spPr/>
      <dgm:t>
        <a:bodyPr/>
        <a:lstStyle/>
        <a:p>
          <a:endParaRPr lang="en-US" noProof="0"/>
        </a:p>
      </dgm:t>
    </dgm:pt>
    <dgm:pt modelId="{76BBD600-703C-4F03-ADE8-A960CBE4ED63}">
      <dgm:prSet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b="0" i="0" noProof="0"/>
            <a:t>Waves/Material Interactions Physics </a:t>
          </a:r>
          <a:endParaRPr lang="en-US" noProof="0"/>
        </a:p>
      </dgm:t>
    </dgm:pt>
    <dgm:pt modelId="{0BC559A6-04A6-4EB7-AED6-ABC0432C44A9}" type="parTrans" cxnId="{F89FF857-A89F-41B5-A090-5AC56A9FA329}">
      <dgm:prSet/>
      <dgm:spPr/>
      <dgm:t>
        <a:bodyPr/>
        <a:lstStyle/>
        <a:p>
          <a:endParaRPr lang="en-US" noProof="0"/>
        </a:p>
      </dgm:t>
    </dgm:pt>
    <dgm:pt modelId="{97337D29-B7C7-4458-83D1-27131310C21D}" type="sibTrans" cxnId="{F89FF857-A89F-41B5-A090-5AC56A9FA329}">
      <dgm:prSet/>
      <dgm:spPr/>
      <dgm:t>
        <a:bodyPr/>
        <a:lstStyle/>
        <a:p>
          <a:endParaRPr lang="en-US" noProof="0"/>
        </a:p>
      </dgm:t>
    </dgm:pt>
    <dgm:pt modelId="{532D3ED4-6826-4271-A150-54EADCAE579B}">
      <dgm:prSet phldrT="[Texte]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noProof="0"/>
            <a:t>Design Systems</a:t>
          </a:r>
        </a:p>
      </dgm:t>
    </dgm:pt>
    <dgm:pt modelId="{83EC8FB7-21CA-462C-82BC-F42EBA6B677C}" type="parTrans" cxnId="{2A704470-6CB4-40C3-B8A5-2964C02CEC6F}">
      <dgm:prSet/>
      <dgm:spPr/>
      <dgm:t>
        <a:bodyPr/>
        <a:lstStyle/>
        <a:p>
          <a:endParaRPr lang="en-US" noProof="0"/>
        </a:p>
      </dgm:t>
    </dgm:pt>
    <dgm:pt modelId="{B34779AE-9062-4ACF-A9DB-8043839F1E5F}" type="sibTrans" cxnId="{2A704470-6CB4-40C3-B8A5-2964C02CEC6F}">
      <dgm:prSet/>
      <dgm:spPr/>
      <dgm:t>
        <a:bodyPr/>
        <a:lstStyle/>
        <a:p>
          <a:endParaRPr lang="en-US" noProof="0"/>
        </a:p>
      </dgm:t>
    </dgm:pt>
    <dgm:pt modelId="{9DB6FB11-E188-420D-B68C-A38415C9585E}">
      <dgm:prSet phldrT="[Texte]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noProof="0"/>
            <a:t>Scientific computing</a:t>
          </a:r>
        </a:p>
      </dgm:t>
    </dgm:pt>
    <dgm:pt modelId="{D133552C-8B96-4FF5-98CB-80BB04EA72ED}" type="parTrans" cxnId="{D379B899-4CE9-46BD-AF23-D3796F524A50}">
      <dgm:prSet/>
      <dgm:spPr/>
      <dgm:t>
        <a:bodyPr/>
        <a:lstStyle/>
        <a:p>
          <a:endParaRPr lang="en-US" noProof="0"/>
        </a:p>
      </dgm:t>
    </dgm:pt>
    <dgm:pt modelId="{9DAC5005-E71F-407F-A2AE-49F5BF62A91C}" type="sibTrans" cxnId="{D379B899-4CE9-46BD-AF23-D3796F524A50}">
      <dgm:prSet/>
      <dgm:spPr/>
      <dgm:t>
        <a:bodyPr/>
        <a:lstStyle/>
        <a:p>
          <a:endParaRPr lang="en-US" noProof="0"/>
        </a:p>
      </dgm:t>
    </dgm:pt>
    <dgm:pt modelId="{7F8A15A3-8A0F-4FAE-AD08-FDB8C07988D7}" type="pres">
      <dgm:prSet presAssocID="{EE64E8FF-DD7E-40F3-A88C-A70F10B273BF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B5E47443-6D04-48E5-93DE-EEBE0942BCB5}" type="pres">
      <dgm:prSet presAssocID="{F7A6CB5C-EF50-4612-949D-9FD3E0BC8A36}" presName="compNode" presStyleCnt="0"/>
      <dgm:spPr/>
    </dgm:pt>
    <dgm:pt modelId="{2B4A4FAD-52F0-4900-97A9-1E8BB8C34A5E}" type="pres">
      <dgm:prSet presAssocID="{F7A6CB5C-EF50-4612-949D-9FD3E0BC8A36}" presName="aNode" presStyleLbl="bgShp" presStyleIdx="0" presStyleCnt="4"/>
      <dgm:spPr/>
      <dgm:t>
        <a:bodyPr/>
        <a:lstStyle/>
        <a:p>
          <a:endParaRPr lang="fr-FR"/>
        </a:p>
      </dgm:t>
    </dgm:pt>
    <dgm:pt modelId="{C2D4B34B-977D-4E8C-8B06-95883E9E185E}" type="pres">
      <dgm:prSet presAssocID="{F7A6CB5C-EF50-4612-949D-9FD3E0BC8A36}" presName="textNode" presStyleLbl="bgShp" presStyleIdx="0" presStyleCnt="4"/>
      <dgm:spPr/>
      <dgm:t>
        <a:bodyPr/>
        <a:lstStyle/>
        <a:p>
          <a:endParaRPr lang="fr-FR"/>
        </a:p>
      </dgm:t>
    </dgm:pt>
    <dgm:pt modelId="{8C9DFDE5-F5C5-4C6E-AE77-18CB83D0F96E}" type="pres">
      <dgm:prSet presAssocID="{F7A6CB5C-EF50-4612-949D-9FD3E0BC8A36}" presName="compChildNode" presStyleCnt="0"/>
      <dgm:spPr/>
    </dgm:pt>
    <dgm:pt modelId="{759F701F-F801-40C1-ADC6-0C9A0758507B}" type="pres">
      <dgm:prSet presAssocID="{F7A6CB5C-EF50-4612-949D-9FD3E0BC8A36}" presName="theInnerList" presStyleCnt="0"/>
      <dgm:spPr/>
    </dgm:pt>
    <dgm:pt modelId="{D2CB7395-0E26-4718-9FCE-ABF2C1AEDEB7}" type="pres">
      <dgm:prSet presAssocID="{608D5AA4-AF3E-4F6F-B399-6E7DD71B3286}" presName="childNode" presStyleLbl="node1" presStyleIdx="0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C53FE05-72E1-4AB0-BBA7-4E56E0D195B3}" type="pres">
      <dgm:prSet presAssocID="{608D5AA4-AF3E-4F6F-B399-6E7DD71B3286}" presName="aSpace2" presStyleCnt="0"/>
      <dgm:spPr/>
    </dgm:pt>
    <dgm:pt modelId="{D931CC5F-8857-4226-9395-DB717A7027A8}" type="pres">
      <dgm:prSet presAssocID="{8C2BE1F1-363B-4C23-8E7B-CE065FC8BD33}" presName="childNode" presStyleLbl="node1" presStyleIdx="1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6924D74-4968-44FD-8501-C0F967B8FE9F}" type="pres">
      <dgm:prSet presAssocID="{8C2BE1F1-363B-4C23-8E7B-CE065FC8BD33}" presName="aSpace2" presStyleCnt="0"/>
      <dgm:spPr/>
    </dgm:pt>
    <dgm:pt modelId="{1651C03A-80E1-41CF-BBAB-31EED1D627FB}" type="pres">
      <dgm:prSet presAssocID="{532D3ED4-6826-4271-A150-54EADCAE579B}" presName="childNode" presStyleLbl="node1" presStyleIdx="2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1FA0B22-FDE4-4A70-BDC9-D34F2AA97649}" type="pres">
      <dgm:prSet presAssocID="{532D3ED4-6826-4271-A150-54EADCAE579B}" presName="aSpace2" presStyleCnt="0"/>
      <dgm:spPr/>
    </dgm:pt>
    <dgm:pt modelId="{78E8D23A-108E-4FB3-A846-E459AE2CBB18}" type="pres">
      <dgm:prSet presAssocID="{9DB6FB11-E188-420D-B68C-A38415C9585E}" presName="childNode" presStyleLbl="node1" presStyleIdx="3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48FA6A5-A352-4F38-A369-F828E4833C0D}" type="pres">
      <dgm:prSet presAssocID="{F7A6CB5C-EF50-4612-949D-9FD3E0BC8A36}" presName="aSpace" presStyleCnt="0"/>
      <dgm:spPr/>
    </dgm:pt>
    <dgm:pt modelId="{006CBB68-281E-41FE-811B-2052156D2FFA}" type="pres">
      <dgm:prSet presAssocID="{0CCEEFAB-3083-4E81-BE52-D245CA683F36}" presName="compNode" presStyleCnt="0"/>
      <dgm:spPr/>
    </dgm:pt>
    <dgm:pt modelId="{E9D33D8D-5B87-450F-BCFA-8EF67D1711EC}" type="pres">
      <dgm:prSet presAssocID="{0CCEEFAB-3083-4E81-BE52-D245CA683F36}" presName="aNode" presStyleLbl="bgShp" presStyleIdx="1" presStyleCnt="4"/>
      <dgm:spPr/>
      <dgm:t>
        <a:bodyPr/>
        <a:lstStyle/>
        <a:p>
          <a:endParaRPr lang="fr-FR"/>
        </a:p>
      </dgm:t>
    </dgm:pt>
    <dgm:pt modelId="{3424E0B0-FBBC-47BF-9A7F-A81DBA42DA35}" type="pres">
      <dgm:prSet presAssocID="{0CCEEFAB-3083-4E81-BE52-D245CA683F36}" presName="textNode" presStyleLbl="bgShp" presStyleIdx="1" presStyleCnt="4"/>
      <dgm:spPr/>
      <dgm:t>
        <a:bodyPr/>
        <a:lstStyle/>
        <a:p>
          <a:endParaRPr lang="fr-FR"/>
        </a:p>
      </dgm:t>
    </dgm:pt>
    <dgm:pt modelId="{AB5166AD-0237-4030-B038-1012D3137373}" type="pres">
      <dgm:prSet presAssocID="{0CCEEFAB-3083-4E81-BE52-D245CA683F36}" presName="compChildNode" presStyleCnt="0"/>
      <dgm:spPr/>
    </dgm:pt>
    <dgm:pt modelId="{8DB4F9C7-433F-4D5A-9DEC-78F7E0FEDDDF}" type="pres">
      <dgm:prSet presAssocID="{0CCEEFAB-3083-4E81-BE52-D245CA683F36}" presName="theInnerList" presStyleCnt="0"/>
      <dgm:spPr/>
    </dgm:pt>
    <dgm:pt modelId="{FC972699-D410-4E2C-8859-5C12B74B5527}" type="pres">
      <dgm:prSet presAssocID="{0AE8FFEC-6310-4239-B03F-1056CA97E5AF}" presName="childNode" presStyleLbl="node1" presStyleIdx="4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C2C6BF6-8E4E-4007-A4FB-059263F5A6CD}" type="pres">
      <dgm:prSet presAssocID="{0AE8FFEC-6310-4239-B03F-1056CA97E5AF}" presName="aSpace2" presStyleCnt="0"/>
      <dgm:spPr/>
    </dgm:pt>
    <dgm:pt modelId="{3AE7B411-5EE4-4A85-9A09-6A07F479C9C0}" type="pres">
      <dgm:prSet presAssocID="{0B41B23E-BDF4-4531-8055-EBD18E52A782}" presName="childNode" presStyleLbl="node1" presStyleIdx="5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23323F2-4F58-4B0C-AACC-A8F21B07A432}" type="pres">
      <dgm:prSet presAssocID="{0CCEEFAB-3083-4E81-BE52-D245CA683F36}" presName="aSpace" presStyleCnt="0"/>
      <dgm:spPr/>
    </dgm:pt>
    <dgm:pt modelId="{A00A03E5-8A11-49E6-8190-F7F77558B21D}" type="pres">
      <dgm:prSet presAssocID="{51BD7369-5688-4648-92CF-7FD82ADA46AC}" presName="compNode" presStyleCnt="0"/>
      <dgm:spPr/>
    </dgm:pt>
    <dgm:pt modelId="{8A0CF1AD-A2DB-486B-A71C-6069B70C10C6}" type="pres">
      <dgm:prSet presAssocID="{51BD7369-5688-4648-92CF-7FD82ADA46AC}" presName="aNode" presStyleLbl="bgShp" presStyleIdx="2" presStyleCnt="4"/>
      <dgm:spPr/>
      <dgm:t>
        <a:bodyPr/>
        <a:lstStyle/>
        <a:p>
          <a:endParaRPr lang="fr-FR"/>
        </a:p>
      </dgm:t>
    </dgm:pt>
    <dgm:pt modelId="{473C32E0-7770-43E2-8331-08D48B990AD7}" type="pres">
      <dgm:prSet presAssocID="{51BD7369-5688-4648-92CF-7FD82ADA46AC}" presName="textNode" presStyleLbl="bgShp" presStyleIdx="2" presStyleCnt="4"/>
      <dgm:spPr/>
      <dgm:t>
        <a:bodyPr/>
        <a:lstStyle/>
        <a:p>
          <a:endParaRPr lang="fr-FR"/>
        </a:p>
      </dgm:t>
    </dgm:pt>
    <dgm:pt modelId="{5EC7D5DC-6447-4DAB-B4C9-4684BF5329EE}" type="pres">
      <dgm:prSet presAssocID="{51BD7369-5688-4648-92CF-7FD82ADA46AC}" presName="compChildNode" presStyleCnt="0"/>
      <dgm:spPr/>
    </dgm:pt>
    <dgm:pt modelId="{33D8ECFE-8354-4FB3-B741-9CC3A6A6C68D}" type="pres">
      <dgm:prSet presAssocID="{51BD7369-5688-4648-92CF-7FD82ADA46AC}" presName="theInnerList" presStyleCnt="0"/>
      <dgm:spPr/>
    </dgm:pt>
    <dgm:pt modelId="{002BBCD0-0694-41C7-837C-9B5D79508BE5}" type="pres">
      <dgm:prSet presAssocID="{22D9E693-A65A-4F8C-A055-189F2CE9DB42}" presName="childNode" presStyleLbl="node1" presStyleIdx="6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3AECAF4-D73E-41AD-92AB-141C1BD8218F}" type="pres">
      <dgm:prSet presAssocID="{22D9E693-A65A-4F8C-A055-189F2CE9DB42}" presName="aSpace2" presStyleCnt="0"/>
      <dgm:spPr/>
    </dgm:pt>
    <dgm:pt modelId="{BF5AB179-1990-4CA5-8A32-C36AB4738EF1}" type="pres">
      <dgm:prSet presAssocID="{F31AF2DF-D411-46EF-8D72-CE26E5F65A3F}" presName="childNode" presStyleLbl="node1" presStyleIdx="7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389E477-A41C-4C85-B883-B8F078FBE001}" type="pres">
      <dgm:prSet presAssocID="{F31AF2DF-D411-46EF-8D72-CE26E5F65A3F}" presName="aSpace2" presStyleCnt="0"/>
      <dgm:spPr/>
    </dgm:pt>
    <dgm:pt modelId="{0845AF5D-0E23-497F-9A98-0C78B301E66D}" type="pres">
      <dgm:prSet presAssocID="{EDC6E3A3-BF77-4D1F-8402-4C1F4630B4EF}" presName="childNode" presStyleLbl="node1" presStyleIdx="8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EED7504-F3FA-47F7-862C-690D74A81BA0}" type="pres">
      <dgm:prSet presAssocID="{EDC6E3A3-BF77-4D1F-8402-4C1F4630B4EF}" presName="aSpace2" presStyleCnt="0"/>
      <dgm:spPr/>
    </dgm:pt>
    <dgm:pt modelId="{8F4136BC-9EA0-4607-9E7F-862D43DAADC1}" type="pres">
      <dgm:prSet presAssocID="{76BBD600-703C-4F03-ADE8-A960CBE4ED63}" presName="childNode" presStyleLbl="node1" presStyleIdx="9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3A07AD6-A11A-447C-BD12-09FCFBF0F8CB}" type="pres">
      <dgm:prSet presAssocID="{51BD7369-5688-4648-92CF-7FD82ADA46AC}" presName="aSpace" presStyleCnt="0"/>
      <dgm:spPr/>
    </dgm:pt>
    <dgm:pt modelId="{7B1FDF8B-28CC-46B6-98C3-A6A3DABFD9FE}" type="pres">
      <dgm:prSet presAssocID="{DA469455-0705-4BC7-92A8-02712D640F2B}" presName="compNode" presStyleCnt="0"/>
      <dgm:spPr/>
    </dgm:pt>
    <dgm:pt modelId="{2A8E6B69-F377-4C1E-8737-3D18941F06D2}" type="pres">
      <dgm:prSet presAssocID="{DA469455-0705-4BC7-92A8-02712D640F2B}" presName="aNode" presStyleLbl="bgShp" presStyleIdx="3" presStyleCnt="4"/>
      <dgm:spPr/>
      <dgm:t>
        <a:bodyPr/>
        <a:lstStyle/>
        <a:p>
          <a:endParaRPr lang="fr-FR"/>
        </a:p>
      </dgm:t>
    </dgm:pt>
    <dgm:pt modelId="{67D137C8-5067-4154-AA6D-B4F0BE515BAD}" type="pres">
      <dgm:prSet presAssocID="{DA469455-0705-4BC7-92A8-02712D640F2B}" presName="textNode" presStyleLbl="bgShp" presStyleIdx="3" presStyleCnt="4"/>
      <dgm:spPr/>
      <dgm:t>
        <a:bodyPr/>
        <a:lstStyle/>
        <a:p>
          <a:endParaRPr lang="fr-FR"/>
        </a:p>
      </dgm:t>
    </dgm:pt>
    <dgm:pt modelId="{61C949AE-1679-46D8-92C5-B123B97BD52B}" type="pres">
      <dgm:prSet presAssocID="{DA469455-0705-4BC7-92A8-02712D640F2B}" presName="compChildNode" presStyleCnt="0"/>
      <dgm:spPr/>
    </dgm:pt>
    <dgm:pt modelId="{C5DBA884-A145-431A-94B9-92A54A07CFBA}" type="pres">
      <dgm:prSet presAssocID="{DA469455-0705-4BC7-92A8-02712D640F2B}" presName="theInnerList" presStyleCnt="0"/>
      <dgm:spPr/>
    </dgm:pt>
    <dgm:pt modelId="{CE0C7DD7-0B0B-4758-A954-36ACF4BF43CD}" type="pres">
      <dgm:prSet presAssocID="{975E780E-656F-4454-BB4B-C37EB8C99BC0}" presName="childNode" presStyleLbl="node1" presStyleIdx="10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F3BAF37-7C52-466E-A58E-480E1ABD50E0}" type="pres">
      <dgm:prSet presAssocID="{975E780E-656F-4454-BB4B-C37EB8C99BC0}" presName="aSpace2" presStyleCnt="0"/>
      <dgm:spPr/>
    </dgm:pt>
    <dgm:pt modelId="{C31A4134-9D42-4A93-AECE-6B8604AEBA74}" type="pres">
      <dgm:prSet presAssocID="{B9BE8983-5032-4968-A103-E1054AAE8149}" presName="childNode" presStyleLbl="node1" presStyleIdx="11" presStyleCnt="1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2F689258-44FD-4D10-8F18-BAA731C51478}" srcId="{EE64E8FF-DD7E-40F3-A88C-A70F10B273BF}" destId="{DA469455-0705-4BC7-92A8-02712D640F2B}" srcOrd="3" destOrd="0" parTransId="{1E09C1C5-EF71-44DC-86F6-7DD46E78169C}" sibTransId="{72C4FC22-FCD4-494A-8A9F-EEC8A58B8BFD}"/>
    <dgm:cxn modelId="{F0429486-6BAB-4822-AA51-8A794552024E}" type="presOf" srcId="{F7A6CB5C-EF50-4612-949D-9FD3E0BC8A36}" destId="{C2D4B34B-977D-4E8C-8B06-95883E9E185E}" srcOrd="1" destOrd="0" presId="urn:microsoft.com/office/officeart/2005/8/layout/lProcess2"/>
    <dgm:cxn modelId="{35914554-8A64-45E5-857B-F9C58E5B33CD}" type="presOf" srcId="{DA469455-0705-4BC7-92A8-02712D640F2B}" destId="{2A8E6B69-F377-4C1E-8737-3D18941F06D2}" srcOrd="0" destOrd="0" presId="urn:microsoft.com/office/officeart/2005/8/layout/lProcess2"/>
    <dgm:cxn modelId="{6A81AA12-0877-42C0-A686-AE57582BBF11}" type="presOf" srcId="{22D9E693-A65A-4F8C-A055-189F2CE9DB42}" destId="{002BBCD0-0694-41C7-837C-9B5D79508BE5}" srcOrd="0" destOrd="0" presId="urn:microsoft.com/office/officeart/2005/8/layout/lProcess2"/>
    <dgm:cxn modelId="{86681086-B6A2-47CC-B53A-A054C2653473}" type="presOf" srcId="{8C2BE1F1-363B-4C23-8E7B-CE065FC8BD33}" destId="{D931CC5F-8857-4226-9395-DB717A7027A8}" srcOrd="0" destOrd="0" presId="urn:microsoft.com/office/officeart/2005/8/layout/lProcess2"/>
    <dgm:cxn modelId="{D379B899-4CE9-46BD-AF23-D3796F524A50}" srcId="{F7A6CB5C-EF50-4612-949D-9FD3E0BC8A36}" destId="{9DB6FB11-E188-420D-B68C-A38415C9585E}" srcOrd="3" destOrd="0" parTransId="{D133552C-8B96-4FF5-98CB-80BB04EA72ED}" sibTransId="{9DAC5005-E71F-407F-A2AE-49F5BF62A91C}"/>
    <dgm:cxn modelId="{34666619-4F99-4325-922C-E768D9541E5E}" type="presOf" srcId="{F7A6CB5C-EF50-4612-949D-9FD3E0BC8A36}" destId="{2B4A4FAD-52F0-4900-97A9-1E8BB8C34A5E}" srcOrd="0" destOrd="0" presId="urn:microsoft.com/office/officeart/2005/8/layout/lProcess2"/>
    <dgm:cxn modelId="{70DB1FAC-3DFD-4BE2-B49E-5210D5652FC5}" type="presOf" srcId="{76BBD600-703C-4F03-ADE8-A960CBE4ED63}" destId="{8F4136BC-9EA0-4607-9E7F-862D43DAADC1}" srcOrd="0" destOrd="0" presId="urn:microsoft.com/office/officeart/2005/8/layout/lProcess2"/>
    <dgm:cxn modelId="{F8516735-A929-4F45-B880-213956F5AFA0}" type="presOf" srcId="{0AE8FFEC-6310-4239-B03F-1056CA97E5AF}" destId="{FC972699-D410-4E2C-8859-5C12B74B5527}" srcOrd="0" destOrd="0" presId="urn:microsoft.com/office/officeart/2005/8/layout/lProcess2"/>
    <dgm:cxn modelId="{E24E8309-EBFD-41E5-9A0F-9791E646EAD1}" type="presOf" srcId="{EE64E8FF-DD7E-40F3-A88C-A70F10B273BF}" destId="{7F8A15A3-8A0F-4FAE-AD08-FDB8C07988D7}" srcOrd="0" destOrd="0" presId="urn:microsoft.com/office/officeart/2005/8/layout/lProcess2"/>
    <dgm:cxn modelId="{DC805A26-FA48-4035-ADB4-60B6F1CC1703}" type="presOf" srcId="{51BD7369-5688-4648-92CF-7FD82ADA46AC}" destId="{473C32E0-7770-43E2-8331-08D48B990AD7}" srcOrd="1" destOrd="0" presId="urn:microsoft.com/office/officeart/2005/8/layout/lProcess2"/>
    <dgm:cxn modelId="{F82463D9-CF90-493E-B883-827E76EB6FC0}" srcId="{DA469455-0705-4BC7-92A8-02712D640F2B}" destId="{B9BE8983-5032-4968-A103-E1054AAE8149}" srcOrd="1" destOrd="0" parTransId="{F9AE790D-EB31-4387-ABFA-8D8A3B726CC9}" sibTransId="{CA7191BE-9141-4508-9C9A-985C171555D6}"/>
    <dgm:cxn modelId="{E7969B45-FFB1-4370-B650-916CF6EAD8D2}" srcId="{EE64E8FF-DD7E-40F3-A88C-A70F10B273BF}" destId="{F7A6CB5C-EF50-4612-949D-9FD3E0BC8A36}" srcOrd="0" destOrd="0" parTransId="{824231B0-4B3C-463B-BD71-7EA5D6A5EDEF}" sibTransId="{539EAF63-1B4C-46CC-BF26-6C83B40CCA11}"/>
    <dgm:cxn modelId="{C3F31708-61C9-4AC4-B3BB-2DC1A8FE82EF}" type="presOf" srcId="{DA469455-0705-4BC7-92A8-02712D640F2B}" destId="{67D137C8-5067-4154-AA6D-B4F0BE515BAD}" srcOrd="1" destOrd="0" presId="urn:microsoft.com/office/officeart/2005/8/layout/lProcess2"/>
    <dgm:cxn modelId="{F89FF857-A89F-41B5-A090-5AC56A9FA329}" srcId="{51BD7369-5688-4648-92CF-7FD82ADA46AC}" destId="{76BBD600-703C-4F03-ADE8-A960CBE4ED63}" srcOrd="3" destOrd="0" parTransId="{0BC559A6-04A6-4EB7-AED6-ABC0432C44A9}" sibTransId="{97337D29-B7C7-4458-83D1-27131310C21D}"/>
    <dgm:cxn modelId="{F8B1059D-51BE-4F5A-BC8C-1FB6077E2C19}" type="presOf" srcId="{0CCEEFAB-3083-4E81-BE52-D245CA683F36}" destId="{3424E0B0-FBBC-47BF-9A7F-A81DBA42DA35}" srcOrd="1" destOrd="0" presId="urn:microsoft.com/office/officeart/2005/8/layout/lProcess2"/>
    <dgm:cxn modelId="{F4A3CE03-76BE-4558-A141-531966BEB2C9}" type="presOf" srcId="{EDC6E3A3-BF77-4D1F-8402-4C1F4630B4EF}" destId="{0845AF5D-0E23-497F-9A98-0C78B301E66D}" srcOrd="0" destOrd="0" presId="urn:microsoft.com/office/officeart/2005/8/layout/lProcess2"/>
    <dgm:cxn modelId="{2A704470-6CB4-40C3-B8A5-2964C02CEC6F}" srcId="{F7A6CB5C-EF50-4612-949D-9FD3E0BC8A36}" destId="{532D3ED4-6826-4271-A150-54EADCAE579B}" srcOrd="2" destOrd="0" parTransId="{83EC8FB7-21CA-462C-82BC-F42EBA6B677C}" sibTransId="{B34779AE-9062-4ACF-A9DB-8043839F1E5F}"/>
    <dgm:cxn modelId="{C9D138EF-2001-4807-B4CC-4E30CF555322}" srcId="{EE64E8FF-DD7E-40F3-A88C-A70F10B273BF}" destId="{51BD7369-5688-4648-92CF-7FD82ADA46AC}" srcOrd="2" destOrd="0" parTransId="{E5F5B286-4D49-438B-AF79-927C9F816137}" sibTransId="{2D57A2DA-A7DE-4E07-AECB-3945AD81638B}"/>
    <dgm:cxn modelId="{1BFB052B-A4C1-4356-BAE6-21BE4053D097}" type="presOf" srcId="{B9BE8983-5032-4968-A103-E1054AAE8149}" destId="{C31A4134-9D42-4A93-AECE-6B8604AEBA74}" srcOrd="0" destOrd="0" presId="urn:microsoft.com/office/officeart/2005/8/layout/lProcess2"/>
    <dgm:cxn modelId="{63025A30-A251-4A5C-80A6-0680C4FD98AC}" srcId="{EE64E8FF-DD7E-40F3-A88C-A70F10B273BF}" destId="{0CCEEFAB-3083-4E81-BE52-D245CA683F36}" srcOrd="1" destOrd="0" parTransId="{BC68A496-E681-4003-9CFF-C9CF8B490CBB}" sibTransId="{A267EE60-B006-40FA-B6B1-D38ACD5CA1F4}"/>
    <dgm:cxn modelId="{B983272F-1372-4C9F-B265-409D54DD1459}" srcId="{0CCEEFAB-3083-4E81-BE52-D245CA683F36}" destId="{0B41B23E-BDF4-4531-8055-EBD18E52A782}" srcOrd="1" destOrd="0" parTransId="{B34CEA44-2E7E-4491-88E9-50AE5536E462}" sibTransId="{9BCFA2D6-151D-46BB-AE95-8A3F54194B57}"/>
    <dgm:cxn modelId="{D802EB9C-AAB4-425B-A623-0978E93ED177}" type="presOf" srcId="{F31AF2DF-D411-46EF-8D72-CE26E5F65A3F}" destId="{BF5AB179-1990-4CA5-8A32-C36AB4738EF1}" srcOrd="0" destOrd="0" presId="urn:microsoft.com/office/officeart/2005/8/layout/lProcess2"/>
    <dgm:cxn modelId="{97FEEC90-2743-42FA-9C53-3FDB20379823}" type="presOf" srcId="{51BD7369-5688-4648-92CF-7FD82ADA46AC}" destId="{8A0CF1AD-A2DB-486B-A71C-6069B70C10C6}" srcOrd="0" destOrd="0" presId="urn:microsoft.com/office/officeart/2005/8/layout/lProcess2"/>
    <dgm:cxn modelId="{3A4961E3-3721-43FC-BCB2-3EE89CD1B7DD}" type="presOf" srcId="{0CCEEFAB-3083-4E81-BE52-D245CA683F36}" destId="{E9D33D8D-5B87-450F-BCFA-8EF67D1711EC}" srcOrd="0" destOrd="0" presId="urn:microsoft.com/office/officeart/2005/8/layout/lProcess2"/>
    <dgm:cxn modelId="{5EC79620-74C5-4C02-9A5A-BC83E2304153}" type="presOf" srcId="{9DB6FB11-E188-420D-B68C-A38415C9585E}" destId="{78E8D23A-108E-4FB3-A846-E459AE2CBB18}" srcOrd="0" destOrd="0" presId="urn:microsoft.com/office/officeart/2005/8/layout/lProcess2"/>
    <dgm:cxn modelId="{3985F6D3-EE31-498A-96C1-42E8C8F0824F}" type="presOf" srcId="{0B41B23E-BDF4-4531-8055-EBD18E52A782}" destId="{3AE7B411-5EE4-4A85-9A09-6A07F479C9C0}" srcOrd="0" destOrd="0" presId="urn:microsoft.com/office/officeart/2005/8/layout/lProcess2"/>
    <dgm:cxn modelId="{2A12E337-1D90-4400-8544-C1935852C03D}" srcId="{DA469455-0705-4BC7-92A8-02712D640F2B}" destId="{975E780E-656F-4454-BB4B-C37EB8C99BC0}" srcOrd="0" destOrd="0" parTransId="{520E2820-78CF-406D-AB76-F6B8A16AD6D8}" sibTransId="{2C1E7BA6-47F0-4091-B604-B517875054AF}"/>
    <dgm:cxn modelId="{5D9DF8BC-1A49-4B5F-B2A8-856E27FABA90}" srcId="{0CCEEFAB-3083-4E81-BE52-D245CA683F36}" destId="{0AE8FFEC-6310-4239-B03F-1056CA97E5AF}" srcOrd="0" destOrd="0" parTransId="{844E366C-4D53-4BD5-9D49-20457EA38629}" sibTransId="{D594CF9E-B738-478C-850D-967C8039B4CA}"/>
    <dgm:cxn modelId="{4A5E481E-FE66-476C-8BDE-8FEC6166B3B9}" type="presOf" srcId="{975E780E-656F-4454-BB4B-C37EB8C99BC0}" destId="{CE0C7DD7-0B0B-4758-A954-36ACF4BF43CD}" srcOrd="0" destOrd="0" presId="urn:microsoft.com/office/officeart/2005/8/layout/lProcess2"/>
    <dgm:cxn modelId="{9DD0CAB9-B4C6-458E-9B6A-ABE292A71CD0}" srcId="{51BD7369-5688-4648-92CF-7FD82ADA46AC}" destId="{F31AF2DF-D411-46EF-8D72-CE26E5F65A3F}" srcOrd="1" destOrd="0" parTransId="{BB25B757-5A3D-456F-A089-3D88AE321CE9}" sibTransId="{4872A2D7-ABE0-415A-8272-E7418A404F43}"/>
    <dgm:cxn modelId="{3D6288A9-5F53-468D-9B3B-10C5CFE26AF2}" type="presOf" srcId="{532D3ED4-6826-4271-A150-54EADCAE579B}" destId="{1651C03A-80E1-41CF-BBAB-31EED1D627FB}" srcOrd="0" destOrd="0" presId="urn:microsoft.com/office/officeart/2005/8/layout/lProcess2"/>
    <dgm:cxn modelId="{2E1BEEF8-65A2-44D2-BA69-822492157668}" srcId="{51BD7369-5688-4648-92CF-7FD82ADA46AC}" destId="{22D9E693-A65A-4F8C-A055-189F2CE9DB42}" srcOrd="0" destOrd="0" parTransId="{0FEA6BBA-EED3-40C7-8787-AC6C17EBBD4C}" sibTransId="{2F6FD41E-5A6A-403F-845E-ED277E04F334}"/>
    <dgm:cxn modelId="{AFDCB20B-8656-4FCB-991B-0ABC8689D568}" type="presOf" srcId="{608D5AA4-AF3E-4F6F-B399-6E7DD71B3286}" destId="{D2CB7395-0E26-4718-9FCE-ABF2C1AEDEB7}" srcOrd="0" destOrd="0" presId="urn:microsoft.com/office/officeart/2005/8/layout/lProcess2"/>
    <dgm:cxn modelId="{20389354-9148-4393-B3E6-C2036CF131C3}" srcId="{F7A6CB5C-EF50-4612-949D-9FD3E0BC8A36}" destId="{8C2BE1F1-363B-4C23-8E7B-CE065FC8BD33}" srcOrd="1" destOrd="0" parTransId="{19502E06-B1EB-434B-B647-117A07BFADA0}" sibTransId="{BB960E52-474E-4AE9-ACF8-32F506B853CF}"/>
    <dgm:cxn modelId="{6C04AEEF-CF10-441E-AD3E-4B8C0C9D4E3A}" srcId="{F7A6CB5C-EF50-4612-949D-9FD3E0BC8A36}" destId="{608D5AA4-AF3E-4F6F-B399-6E7DD71B3286}" srcOrd="0" destOrd="0" parTransId="{7E043C14-5B35-4C29-AABF-68536398E749}" sibTransId="{C6F1F5E2-E43B-4E99-B9C0-84BB0DF6F457}"/>
    <dgm:cxn modelId="{01B4AA8E-3FAC-4256-8EC5-480EFCABC0B9}" srcId="{51BD7369-5688-4648-92CF-7FD82ADA46AC}" destId="{EDC6E3A3-BF77-4D1F-8402-4C1F4630B4EF}" srcOrd="2" destOrd="0" parTransId="{A3C6640F-0901-4FD3-94E7-00A819295FCD}" sibTransId="{E7E90D46-A8FE-40E3-80FE-9C8CA921487A}"/>
    <dgm:cxn modelId="{E8BC7FAF-334B-4C02-AF07-C4192DEF7D9B}" type="presParOf" srcId="{7F8A15A3-8A0F-4FAE-AD08-FDB8C07988D7}" destId="{B5E47443-6D04-48E5-93DE-EEBE0942BCB5}" srcOrd="0" destOrd="0" presId="urn:microsoft.com/office/officeart/2005/8/layout/lProcess2"/>
    <dgm:cxn modelId="{FEAF9B9A-0DA8-4FAE-8BA3-E7F9CF5CB49D}" type="presParOf" srcId="{B5E47443-6D04-48E5-93DE-EEBE0942BCB5}" destId="{2B4A4FAD-52F0-4900-97A9-1E8BB8C34A5E}" srcOrd="0" destOrd="0" presId="urn:microsoft.com/office/officeart/2005/8/layout/lProcess2"/>
    <dgm:cxn modelId="{37F70325-DBA9-4FA3-A6FE-B25DF56487A9}" type="presParOf" srcId="{B5E47443-6D04-48E5-93DE-EEBE0942BCB5}" destId="{C2D4B34B-977D-4E8C-8B06-95883E9E185E}" srcOrd="1" destOrd="0" presId="urn:microsoft.com/office/officeart/2005/8/layout/lProcess2"/>
    <dgm:cxn modelId="{0A4A4193-D107-4AC2-B2B2-8A7FD8DB4B0A}" type="presParOf" srcId="{B5E47443-6D04-48E5-93DE-EEBE0942BCB5}" destId="{8C9DFDE5-F5C5-4C6E-AE77-18CB83D0F96E}" srcOrd="2" destOrd="0" presId="urn:microsoft.com/office/officeart/2005/8/layout/lProcess2"/>
    <dgm:cxn modelId="{FDE74D6D-9864-4637-9E92-550ED04C8E94}" type="presParOf" srcId="{8C9DFDE5-F5C5-4C6E-AE77-18CB83D0F96E}" destId="{759F701F-F801-40C1-ADC6-0C9A0758507B}" srcOrd="0" destOrd="0" presId="urn:microsoft.com/office/officeart/2005/8/layout/lProcess2"/>
    <dgm:cxn modelId="{28368B86-03FA-4A59-924E-63EF77A9B54A}" type="presParOf" srcId="{759F701F-F801-40C1-ADC6-0C9A0758507B}" destId="{D2CB7395-0E26-4718-9FCE-ABF2C1AEDEB7}" srcOrd="0" destOrd="0" presId="urn:microsoft.com/office/officeart/2005/8/layout/lProcess2"/>
    <dgm:cxn modelId="{1317F236-0F4E-4801-8676-2E70765688CE}" type="presParOf" srcId="{759F701F-F801-40C1-ADC6-0C9A0758507B}" destId="{0C53FE05-72E1-4AB0-BBA7-4E56E0D195B3}" srcOrd="1" destOrd="0" presId="urn:microsoft.com/office/officeart/2005/8/layout/lProcess2"/>
    <dgm:cxn modelId="{01639399-B1B4-4B00-993A-FF91F9F5136B}" type="presParOf" srcId="{759F701F-F801-40C1-ADC6-0C9A0758507B}" destId="{D931CC5F-8857-4226-9395-DB717A7027A8}" srcOrd="2" destOrd="0" presId="urn:microsoft.com/office/officeart/2005/8/layout/lProcess2"/>
    <dgm:cxn modelId="{97AEBBDA-EA1B-4647-B57E-FB25EEFF2DCD}" type="presParOf" srcId="{759F701F-F801-40C1-ADC6-0C9A0758507B}" destId="{D6924D74-4968-44FD-8501-C0F967B8FE9F}" srcOrd="3" destOrd="0" presId="urn:microsoft.com/office/officeart/2005/8/layout/lProcess2"/>
    <dgm:cxn modelId="{83B09671-35BE-4AD2-B8E4-A2BDAEC2CD16}" type="presParOf" srcId="{759F701F-F801-40C1-ADC6-0C9A0758507B}" destId="{1651C03A-80E1-41CF-BBAB-31EED1D627FB}" srcOrd="4" destOrd="0" presId="urn:microsoft.com/office/officeart/2005/8/layout/lProcess2"/>
    <dgm:cxn modelId="{D84863F9-16EA-4184-B915-041C7BF344DC}" type="presParOf" srcId="{759F701F-F801-40C1-ADC6-0C9A0758507B}" destId="{91FA0B22-FDE4-4A70-BDC9-D34F2AA97649}" srcOrd="5" destOrd="0" presId="urn:microsoft.com/office/officeart/2005/8/layout/lProcess2"/>
    <dgm:cxn modelId="{CA18AED4-543F-4652-9614-3EFC3764BEC5}" type="presParOf" srcId="{759F701F-F801-40C1-ADC6-0C9A0758507B}" destId="{78E8D23A-108E-4FB3-A846-E459AE2CBB18}" srcOrd="6" destOrd="0" presId="urn:microsoft.com/office/officeart/2005/8/layout/lProcess2"/>
    <dgm:cxn modelId="{9871889F-3B6B-4E70-8FE0-EAE189FEBE3E}" type="presParOf" srcId="{7F8A15A3-8A0F-4FAE-AD08-FDB8C07988D7}" destId="{748FA6A5-A352-4F38-A369-F828E4833C0D}" srcOrd="1" destOrd="0" presId="urn:microsoft.com/office/officeart/2005/8/layout/lProcess2"/>
    <dgm:cxn modelId="{DB80B065-0F64-4F61-ACDE-BF14182F0E82}" type="presParOf" srcId="{7F8A15A3-8A0F-4FAE-AD08-FDB8C07988D7}" destId="{006CBB68-281E-41FE-811B-2052156D2FFA}" srcOrd="2" destOrd="0" presId="urn:microsoft.com/office/officeart/2005/8/layout/lProcess2"/>
    <dgm:cxn modelId="{5B92A07F-80A0-43E6-A559-809F1789F80B}" type="presParOf" srcId="{006CBB68-281E-41FE-811B-2052156D2FFA}" destId="{E9D33D8D-5B87-450F-BCFA-8EF67D1711EC}" srcOrd="0" destOrd="0" presId="urn:microsoft.com/office/officeart/2005/8/layout/lProcess2"/>
    <dgm:cxn modelId="{02804E4F-AF30-4755-994B-E140634FEF33}" type="presParOf" srcId="{006CBB68-281E-41FE-811B-2052156D2FFA}" destId="{3424E0B0-FBBC-47BF-9A7F-A81DBA42DA35}" srcOrd="1" destOrd="0" presId="urn:microsoft.com/office/officeart/2005/8/layout/lProcess2"/>
    <dgm:cxn modelId="{F05F3FAB-8DFE-4706-8345-ECBBE2E2325E}" type="presParOf" srcId="{006CBB68-281E-41FE-811B-2052156D2FFA}" destId="{AB5166AD-0237-4030-B038-1012D3137373}" srcOrd="2" destOrd="0" presId="urn:microsoft.com/office/officeart/2005/8/layout/lProcess2"/>
    <dgm:cxn modelId="{2492B3A3-ED2C-4F40-B2A7-5B4F2E38E7AE}" type="presParOf" srcId="{AB5166AD-0237-4030-B038-1012D3137373}" destId="{8DB4F9C7-433F-4D5A-9DEC-78F7E0FEDDDF}" srcOrd="0" destOrd="0" presId="urn:microsoft.com/office/officeart/2005/8/layout/lProcess2"/>
    <dgm:cxn modelId="{A6C3A9E6-514C-460A-A905-788168FBB168}" type="presParOf" srcId="{8DB4F9C7-433F-4D5A-9DEC-78F7E0FEDDDF}" destId="{FC972699-D410-4E2C-8859-5C12B74B5527}" srcOrd="0" destOrd="0" presId="urn:microsoft.com/office/officeart/2005/8/layout/lProcess2"/>
    <dgm:cxn modelId="{A7D32DFB-3D6C-4A6E-AE51-EB02CB14E567}" type="presParOf" srcId="{8DB4F9C7-433F-4D5A-9DEC-78F7E0FEDDDF}" destId="{EC2C6BF6-8E4E-4007-A4FB-059263F5A6CD}" srcOrd="1" destOrd="0" presId="urn:microsoft.com/office/officeart/2005/8/layout/lProcess2"/>
    <dgm:cxn modelId="{6C44B5A6-3AC7-4294-8300-3816591292C7}" type="presParOf" srcId="{8DB4F9C7-433F-4D5A-9DEC-78F7E0FEDDDF}" destId="{3AE7B411-5EE4-4A85-9A09-6A07F479C9C0}" srcOrd="2" destOrd="0" presId="urn:microsoft.com/office/officeart/2005/8/layout/lProcess2"/>
    <dgm:cxn modelId="{9895242D-4993-4FF4-9BC9-2ED5BE395E23}" type="presParOf" srcId="{7F8A15A3-8A0F-4FAE-AD08-FDB8C07988D7}" destId="{923323F2-4F58-4B0C-AACC-A8F21B07A432}" srcOrd="3" destOrd="0" presId="urn:microsoft.com/office/officeart/2005/8/layout/lProcess2"/>
    <dgm:cxn modelId="{C4439B15-5791-4080-A04A-EAB27ACC8753}" type="presParOf" srcId="{7F8A15A3-8A0F-4FAE-AD08-FDB8C07988D7}" destId="{A00A03E5-8A11-49E6-8190-F7F77558B21D}" srcOrd="4" destOrd="0" presId="urn:microsoft.com/office/officeart/2005/8/layout/lProcess2"/>
    <dgm:cxn modelId="{64A81E64-BC1C-444F-AC11-EE6935195C4D}" type="presParOf" srcId="{A00A03E5-8A11-49E6-8190-F7F77558B21D}" destId="{8A0CF1AD-A2DB-486B-A71C-6069B70C10C6}" srcOrd="0" destOrd="0" presId="urn:microsoft.com/office/officeart/2005/8/layout/lProcess2"/>
    <dgm:cxn modelId="{BF3DE016-7D9C-4E8D-983D-D46384F836E6}" type="presParOf" srcId="{A00A03E5-8A11-49E6-8190-F7F77558B21D}" destId="{473C32E0-7770-43E2-8331-08D48B990AD7}" srcOrd="1" destOrd="0" presId="urn:microsoft.com/office/officeart/2005/8/layout/lProcess2"/>
    <dgm:cxn modelId="{7284D114-7E46-4457-9B44-F84ABE760C2D}" type="presParOf" srcId="{A00A03E5-8A11-49E6-8190-F7F77558B21D}" destId="{5EC7D5DC-6447-4DAB-B4C9-4684BF5329EE}" srcOrd="2" destOrd="0" presId="urn:microsoft.com/office/officeart/2005/8/layout/lProcess2"/>
    <dgm:cxn modelId="{F057B9C5-E1D6-4B59-AFEF-63E6CE3E1D3E}" type="presParOf" srcId="{5EC7D5DC-6447-4DAB-B4C9-4684BF5329EE}" destId="{33D8ECFE-8354-4FB3-B741-9CC3A6A6C68D}" srcOrd="0" destOrd="0" presId="urn:microsoft.com/office/officeart/2005/8/layout/lProcess2"/>
    <dgm:cxn modelId="{59725B3B-7D22-4113-8C7C-05F4984E6A55}" type="presParOf" srcId="{33D8ECFE-8354-4FB3-B741-9CC3A6A6C68D}" destId="{002BBCD0-0694-41C7-837C-9B5D79508BE5}" srcOrd="0" destOrd="0" presId="urn:microsoft.com/office/officeart/2005/8/layout/lProcess2"/>
    <dgm:cxn modelId="{1F4A96EE-F422-430C-96D1-C49330937A96}" type="presParOf" srcId="{33D8ECFE-8354-4FB3-B741-9CC3A6A6C68D}" destId="{73AECAF4-D73E-41AD-92AB-141C1BD8218F}" srcOrd="1" destOrd="0" presId="urn:microsoft.com/office/officeart/2005/8/layout/lProcess2"/>
    <dgm:cxn modelId="{C56E0014-1695-4595-8403-8AD53BC8EEF5}" type="presParOf" srcId="{33D8ECFE-8354-4FB3-B741-9CC3A6A6C68D}" destId="{BF5AB179-1990-4CA5-8A32-C36AB4738EF1}" srcOrd="2" destOrd="0" presId="urn:microsoft.com/office/officeart/2005/8/layout/lProcess2"/>
    <dgm:cxn modelId="{AB57BFE9-C76B-41E8-B8F5-12FAACD6C550}" type="presParOf" srcId="{33D8ECFE-8354-4FB3-B741-9CC3A6A6C68D}" destId="{4389E477-A41C-4C85-B883-B8F078FBE001}" srcOrd="3" destOrd="0" presId="urn:microsoft.com/office/officeart/2005/8/layout/lProcess2"/>
    <dgm:cxn modelId="{3E310E15-465A-4852-A39F-E984B1C8A293}" type="presParOf" srcId="{33D8ECFE-8354-4FB3-B741-9CC3A6A6C68D}" destId="{0845AF5D-0E23-497F-9A98-0C78B301E66D}" srcOrd="4" destOrd="0" presId="urn:microsoft.com/office/officeart/2005/8/layout/lProcess2"/>
    <dgm:cxn modelId="{C1C4B289-8441-4EF9-9A83-5A3EC7AB1D2B}" type="presParOf" srcId="{33D8ECFE-8354-4FB3-B741-9CC3A6A6C68D}" destId="{1EED7504-F3FA-47F7-862C-690D74A81BA0}" srcOrd="5" destOrd="0" presId="urn:microsoft.com/office/officeart/2005/8/layout/lProcess2"/>
    <dgm:cxn modelId="{E80C8C66-0851-4C89-9899-69CEE7BCEA99}" type="presParOf" srcId="{33D8ECFE-8354-4FB3-B741-9CC3A6A6C68D}" destId="{8F4136BC-9EA0-4607-9E7F-862D43DAADC1}" srcOrd="6" destOrd="0" presId="urn:microsoft.com/office/officeart/2005/8/layout/lProcess2"/>
    <dgm:cxn modelId="{2122BF7B-9202-4249-8E41-9A0FDE01BA2E}" type="presParOf" srcId="{7F8A15A3-8A0F-4FAE-AD08-FDB8C07988D7}" destId="{03A07AD6-A11A-447C-BD12-09FCFBF0F8CB}" srcOrd="5" destOrd="0" presId="urn:microsoft.com/office/officeart/2005/8/layout/lProcess2"/>
    <dgm:cxn modelId="{E859E21B-3632-4910-BE88-62640B790563}" type="presParOf" srcId="{7F8A15A3-8A0F-4FAE-AD08-FDB8C07988D7}" destId="{7B1FDF8B-28CC-46B6-98C3-A6A3DABFD9FE}" srcOrd="6" destOrd="0" presId="urn:microsoft.com/office/officeart/2005/8/layout/lProcess2"/>
    <dgm:cxn modelId="{0E170C01-8485-4468-B730-C281788DE8E9}" type="presParOf" srcId="{7B1FDF8B-28CC-46B6-98C3-A6A3DABFD9FE}" destId="{2A8E6B69-F377-4C1E-8737-3D18941F06D2}" srcOrd="0" destOrd="0" presId="urn:microsoft.com/office/officeart/2005/8/layout/lProcess2"/>
    <dgm:cxn modelId="{A85C5066-1910-44F7-8F60-733E42D3B5CA}" type="presParOf" srcId="{7B1FDF8B-28CC-46B6-98C3-A6A3DABFD9FE}" destId="{67D137C8-5067-4154-AA6D-B4F0BE515BAD}" srcOrd="1" destOrd="0" presId="urn:microsoft.com/office/officeart/2005/8/layout/lProcess2"/>
    <dgm:cxn modelId="{B849421C-2B8D-470E-B5D1-6CB3A622070C}" type="presParOf" srcId="{7B1FDF8B-28CC-46B6-98C3-A6A3DABFD9FE}" destId="{61C949AE-1679-46D8-92C5-B123B97BD52B}" srcOrd="2" destOrd="0" presId="urn:microsoft.com/office/officeart/2005/8/layout/lProcess2"/>
    <dgm:cxn modelId="{CB58D1AA-95FF-4CE4-AAC8-1AC0D77B394F}" type="presParOf" srcId="{61C949AE-1679-46D8-92C5-B123B97BD52B}" destId="{C5DBA884-A145-431A-94B9-92A54A07CFBA}" srcOrd="0" destOrd="0" presId="urn:microsoft.com/office/officeart/2005/8/layout/lProcess2"/>
    <dgm:cxn modelId="{8A76D60B-82A9-4E1A-AF48-F105F5947B8A}" type="presParOf" srcId="{C5DBA884-A145-431A-94B9-92A54A07CFBA}" destId="{CE0C7DD7-0B0B-4758-A954-36ACF4BF43CD}" srcOrd="0" destOrd="0" presId="urn:microsoft.com/office/officeart/2005/8/layout/lProcess2"/>
    <dgm:cxn modelId="{689A1CED-B76C-4F14-B3FF-DE137DCF5620}" type="presParOf" srcId="{C5DBA884-A145-431A-94B9-92A54A07CFBA}" destId="{6F3BAF37-7C52-466E-A58E-480E1ABD50E0}" srcOrd="1" destOrd="0" presId="urn:microsoft.com/office/officeart/2005/8/layout/lProcess2"/>
    <dgm:cxn modelId="{E0F0A3A3-8AC0-4462-96B6-DC45FC672405}" type="presParOf" srcId="{C5DBA884-A145-431A-94B9-92A54A07CFBA}" destId="{C31A4134-9D42-4A93-AECE-6B8604AEBA74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4A4FAD-52F0-4900-97A9-1E8BB8C34A5E}">
      <dsp:nvSpPr>
        <dsp:cNvPr id="0" name=""/>
        <dsp:cNvSpPr/>
      </dsp:nvSpPr>
      <dsp:spPr>
        <a:xfrm>
          <a:off x="2152" y="0"/>
          <a:ext cx="2112351" cy="3652586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noProof="0"/>
            <a:t>Software engineering and HPC</a:t>
          </a:r>
        </a:p>
      </dsp:txBody>
      <dsp:txXfrm>
        <a:off x="2152" y="0"/>
        <a:ext cx="2112351" cy="1095775"/>
      </dsp:txXfrm>
    </dsp:sp>
    <dsp:sp modelId="{D2CB7395-0E26-4718-9FCE-ABF2C1AEDEB7}">
      <dsp:nvSpPr>
        <dsp:cNvPr id="0" name=""/>
        <dsp:cNvSpPr/>
      </dsp:nvSpPr>
      <dsp:spPr>
        <a:xfrm>
          <a:off x="213387" y="1095864"/>
          <a:ext cx="1689881" cy="532104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i="0" kern="1200" noProof="0"/>
            <a:t>Software architecture</a:t>
          </a:r>
          <a:endParaRPr lang="en-US" sz="1400" kern="1200" noProof="0"/>
        </a:p>
      </dsp:txBody>
      <dsp:txXfrm>
        <a:off x="228972" y="1111449"/>
        <a:ext cx="1658711" cy="500934"/>
      </dsp:txXfrm>
    </dsp:sp>
    <dsp:sp modelId="{D931CC5F-8857-4226-9395-DB717A7027A8}">
      <dsp:nvSpPr>
        <dsp:cNvPr id="0" name=""/>
        <dsp:cNvSpPr/>
      </dsp:nvSpPr>
      <dsp:spPr>
        <a:xfrm>
          <a:off x="213387" y="1709831"/>
          <a:ext cx="1689881" cy="532104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/>
            <a:t>Software Development </a:t>
          </a:r>
        </a:p>
      </dsp:txBody>
      <dsp:txXfrm>
        <a:off x="228972" y="1725416"/>
        <a:ext cx="1658711" cy="500934"/>
      </dsp:txXfrm>
    </dsp:sp>
    <dsp:sp modelId="{1651C03A-80E1-41CF-BBAB-31EED1D627FB}">
      <dsp:nvSpPr>
        <dsp:cNvPr id="0" name=""/>
        <dsp:cNvSpPr/>
      </dsp:nvSpPr>
      <dsp:spPr>
        <a:xfrm>
          <a:off x="213387" y="2323797"/>
          <a:ext cx="1689881" cy="532104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/>
            <a:t>Design Systems</a:t>
          </a:r>
        </a:p>
      </dsp:txBody>
      <dsp:txXfrm>
        <a:off x="228972" y="2339382"/>
        <a:ext cx="1658711" cy="500934"/>
      </dsp:txXfrm>
    </dsp:sp>
    <dsp:sp modelId="{78E8D23A-108E-4FB3-A846-E459AE2CBB18}">
      <dsp:nvSpPr>
        <dsp:cNvPr id="0" name=""/>
        <dsp:cNvSpPr/>
      </dsp:nvSpPr>
      <dsp:spPr>
        <a:xfrm>
          <a:off x="213387" y="2937763"/>
          <a:ext cx="1689881" cy="532104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/>
            <a:t>Scientific computing</a:t>
          </a:r>
        </a:p>
      </dsp:txBody>
      <dsp:txXfrm>
        <a:off x="228972" y="2953348"/>
        <a:ext cx="1658711" cy="500934"/>
      </dsp:txXfrm>
    </dsp:sp>
    <dsp:sp modelId="{E9D33D8D-5B87-450F-BCFA-8EF67D1711EC}">
      <dsp:nvSpPr>
        <dsp:cNvPr id="0" name=""/>
        <dsp:cNvSpPr/>
      </dsp:nvSpPr>
      <dsp:spPr>
        <a:xfrm>
          <a:off x="2272930" y="0"/>
          <a:ext cx="2112351" cy="3652586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noProof="0"/>
            <a:t>Mathematics and  Algorithms</a:t>
          </a:r>
        </a:p>
      </dsp:txBody>
      <dsp:txXfrm>
        <a:off x="2272930" y="0"/>
        <a:ext cx="2112351" cy="1095775"/>
      </dsp:txXfrm>
    </dsp:sp>
    <dsp:sp modelId="{FC972699-D410-4E2C-8859-5C12B74B5527}">
      <dsp:nvSpPr>
        <dsp:cNvPr id="0" name=""/>
        <dsp:cNvSpPr/>
      </dsp:nvSpPr>
      <dsp:spPr>
        <a:xfrm>
          <a:off x="2484166" y="1096845"/>
          <a:ext cx="1689881" cy="1101304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/>
            <a:t>Mathematics and theoretical tools</a:t>
          </a:r>
        </a:p>
      </dsp:txBody>
      <dsp:txXfrm>
        <a:off x="2516422" y="1129101"/>
        <a:ext cx="1625369" cy="1036792"/>
      </dsp:txXfrm>
    </dsp:sp>
    <dsp:sp modelId="{3AE7B411-5EE4-4A85-9A09-6A07F479C9C0}">
      <dsp:nvSpPr>
        <dsp:cNvPr id="0" name=""/>
        <dsp:cNvSpPr/>
      </dsp:nvSpPr>
      <dsp:spPr>
        <a:xfrm>
          <a:off x="2484166" y="2367581"/>
          <a:ext cx="1689881" cy="1101304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/>
            <a:t>Algorithms and applied science</a:t>
          </a:r>
        </a:p>
      </dsp:txBody>
      <dsp:txXfrm>
        <a:off x="2516422" y="2399837"/>
        <a:ext cx="1625369" cy="1036792"/>
      </dsp:txXfrm>
    </dsp:sp>
    <dsp:sp modelId="{8A0CF1AD-A2DB-486B-A71C-6069B70C10C6}">
      <dsp:nvSpPr>
        <dsp:cNvPr id="0" name=""/>
        <dsp:cNvSpPr/>
      </dsp:nvSpPr>
      <dsp:spPr>
        <a:xfrm>
          <a:off x="4543709" y="0"/>
          <a:ext cx="2112351" cy="3652586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noProof="0"/>
            <a:t>Physicals Models and simulation</a:t>
          </a:r>
        </a:p>
      </dsp:txBody>
      <dsp:txXfrm>
        <a:off x="4543709" y="0"/>
        <a:ext cx="2112351" cy="1095775"/>
      </dsp:txXfrm>
    </dsp:sp>
    <dsp:sp modelId="{002BBCD0-0694-41C7-837C-9B5D79508BE5}">
      <dsp:nvSpPr>
        <dsp:cNvPr id="0" name=""/>
        <dsp:cNvSpPr/>
      </dsp:nvSpPr>
      <dsp:spPr>
        <a:xfrm>
          <a:off x="4754944" y="1095864"/>
          <a:ext cx="1689881" cy="532104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/>
            <a:t>Mechanic and thermic of solids</a:t>
          </a:r>
        </a:p>
      </dsp:txBody>
      <dsp:txXfrm>
        <a:off x="4770529" y="1111449"/>
        <a:ext cx="1658711" cy="500934"/>
      </dsp:txXfrm>
    </dsp:sp>
    <dsp:sp modelId="{BF5AB179-1990-4CA5-8A32-C36AB4738EF1}">
      <dsp:nvSpPr>
        <dsp:cNvPr id="0" name=""/>
        <dsp:cNvSpPr/>
      </dsp:nvSpPr>
      <dsp:spPr>
        <a:xfrm>
          <a:off x="4754944" y="1709831"/>
          <a:ext cx="1689881" cy="532104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/>
            <a:t>Mechanic and thermic of fluids</a:t>
          </a:r>
        </a:p>
      </dsp:txBody>
      <dsp:txXfrm>
        <a:off x="4770529" y="1725416"/>
        <a:ext cx="1658711" cy="500934"/>
      </dsp:txXfrm>
    </dsp:sp>
    <dsp:sp modelId="{0845AF5D-0E23-497F-9A98-0C78B301E66D}">
      <dsp:nvSpPr>
        <dsp:cNvPr id="0" name=""/>
        <dsp:cNvSpPr/>
      </dsp:nvSpPr>
      <dsp:spPr>
        <a:xfrm>
          <a:off x="4754944" y="2323797"/>
          <a:ext cx="1689881" cy="532104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/>
            <a:t>Multi-physics systems</a:t>
          </a:r>
        </a:p>
      </dsp:txBody>
      <dsp:txXfrm>
        <a:off x="4770529" y="2339382"/>
        <a:ext cx="1658711" cy="500934"/>
      </dsp:txXfrm>
    </dsp:sp>
    <dsp:sp modelId="{8F4136BC-9EA0-4607-9E7F-862D43DAADC1}">
      <dsp:nvSpPr>
        <dsp:cNvPr id="0" name=""/>
        <dsp:cNvSpPr/>
      </dsp:nvSpPr>
      <dsp:spPr>
        <a:xfrm>
          <a:off x="4754944" y="2937763"/>
          <a:ext cx="1689881" cy="532104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i="0" kern="1200" noProof="0"/>
            <a:t>Waves/Material Interactions Physics </a:t>
          </a:r>
          <a:endParaRPr lang="en-US" sz="1400" kern="1200" noProof="0"/>
        </a:p>
      </dsp:txBody>
      <dsp:txXfrm>
        <a:off x="4770529" y="2953348"/>
        <a:ext cx="1658711" cy="500934"/>
      </dsp:txXfrm>
    </dsp:sp>
    <dsp:sp modelId="{2A8E6B69-F377-4C1E-8737-3D18941F06D2}">
      <dsp:nvSpPr>
        <dsp:cNvPr id="0" name=""/>
        <dsp:cNvSpPr/>
      </dsp:nvSpPr>
      <dsp:spPr>
        <a:xfrm>
          <a:off x="6814487" y="0"/>
          <a:ext cx="2112351" cy="3652586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noProof="0"/>
            <a:t>Cyber-physics systems</a:t>
          </a:r>
        </a:p>
      </dsp:txBody>
      <dsp:txXfrm>
        <a:off x="6814487" y="0"/>
        <a:ext cx="2112351" cy="1095775"/>
      </dsp:txXfrm>
    </dsp:sp>
    <dsp:sp modelId="{CE0C7DD7-0B0B-4758-A954-36ACF4BF43CD}">
      <dsp:nvSpPr>
        <dsp:cNvPr id="0" name=""/>
        <dsp:cNvSpPr/>
      </dsp:nvSpPr>
      <dsp:spPr>
        <a:xfrm>
          <a:off x="7025722" y="1096845"/>
          <a:ext cx="1689881" cy="1101304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/>
            <a:t>Sensors and physical measurement systems</a:t>
          </a:r>
        </a:p>
      </dsp:txBody>
      <dsp:txXfrm>
        <a:off x="7057978" y="1129101"/>
        <a:ext cx="1625369" cy="1036792"/>
      </dsp:txXfrm>
    </dsp:sp>
    <dsp:sp modelId="{C31A4134-9D42-4A93-AECE-6B8604AEBA74}">
      <dsp:nvSpPr>
        <dsp:cNvPr id="0" name=""/>
        <dsp:cNvSpPr/>
      </dsp:nvSpPr>
      <dsp:spPr>
        <a:xfrm>
          <a:off x="7025722" y="2367581"/>
          <a:ext cx="1689881" cy="1101304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/>
            <a:t>Design, modelling and simulation of cyber-physics systems</a:t>
          </a:r>
        </a:p>
      </dsp:txBody>
      <dsp:txXfrm>
        <a:off x="7057978" y="2399837"/>
        <a:ext cx="1625369" cy="103679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A6F046-D38F-4C8B-80A2-A045CCE21039}" type="datetimeFigureOut">
              <a:rPr lang="fr-FR" smtClean="0"/>
              <a:t>03/11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B24A7D-67D1-474B-8281-7124DFD823B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637984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816B18-2456-4A77-B16C-F04914788918}" type="datetimeFigureOut">
              <a:rPr lang="fr-FR" smtClean="0"/>
              <a:t>03/11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1143000"/>
            <a:ext cx="5483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031628-B874-4023-80FE-6CB21235C5B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077107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06CD8F-B7ED-4A05-9FB1-A01CC0EF02CC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01698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06CD8F-B7ED-4A05-9FB1-A01CC0EF02CC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10966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UP COVER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377EA998-C783-46B4-8BD4-7807D686D2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406969" y="4623601"/>
            <a:ext cx="816911" cy="171187"/>
          </a:xfrm>
          <a:prstGeom prst="rect">
            <a:avLst/>
          </a:prstGeom>
        </p:spPr>
      </p:pic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99D89894-D0E9-4EC0-9E26-DD5A1B2E5E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5750" y="1767833"/>
            <a:ext cx="3056172" cy="11135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buNone/>
              <a:defRPr sz="2600" b="1">
                <a:latin typeface="+mn-lt"/>
              </a:defRPr>
            </a:lvl1pPr>
            <a:lvl2pPr marL="184286" indent="0">
              <a:buNone/>
              <a:defRPr>
                <a:latin typeface="+mn-lt"/>
              </a:defRPr>
            </a:lvl2pPr>
            <a:lvl3pPr marL="343152" indent="0">
              <a:buNone/>
              <a:defRPr>
                <a:latin typeface="+mn-lt"/>
              </a:defRPr>
            </a:lvl3pPr>
            <a:lvl4pPr marL="1372595" indent="0">
              <a:buNone/>
              <a:defRPr>
                <a:latin typeface="+mn-lt"/>
              </a:defRPr>
            </a:lvl4pPr>
            <a:lvl5pPr marL="1830123" indent="0">
              <a:buNone/>
              <a:defRPr>
                <a:latin typeface="+mn-lt"/>
              </a:defRPr>
            </a:lvl5pPr>
          </a:lstStyle>
          <a:p>
            <a:pPr lvl="0"/>
            <a:r>
              <a:rPr lang="da-DK"/>
              <a:t>Lorem ipsum</a:t>
            </a:r>
            <a:br>
              <a:rPr lang="da-DK"/>
            </a:br>
            <a:r>
              <a:rPr lang="da-DK"/>
              <a:t>dolor sit amet</a:t>
            </a:r>
            <a:endParaRPr lang="fr-FR"/>
          </a:p>
        </p:txBody>
      </p:sp>
      <p:sp>
        <p:nvSpPr>
          <p:cNvPr id="26" name="Espace réservé pour une image  11">
            <a:extLst>
              <a:ext uri="{FF2B5EF4-FFF2-40B4-BE49-F238E27FC236}">
                <a16:creationId xmlns:a16="http://schemas.microsoft.com/office/drawing/2014/main" id="{EBB2A290-80EC-4D41-AB7F-4A0708C532A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627672" y="0"/>
            <a:ext cx="5516327" cy="5145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change the picture </a:t>
            </a:r>
            <a:endParaRPr lang="fr-FR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05876289-A5AC-57F9-D74E-A267A584AF0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1014883" y="254177"/>
            <a:ext cx="1601082" cy="35779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2D7918B-95F6-461E-8D78-0189AACAD879}"/>
              </a:ext>
            </a:extLst>
          </p:cNvPr>
          <p:cNvSpPr/>
          <p:nvPr userDrawn="1"/>
        </p:nvSpPr>
        <p:spPr>
          <a:xfrm>
            <a:off x="287338" y="278959"/>
            <a:ext cx="3056172" cy="3867591"/>
          </a:xfrm>
          <a:prstGeom prst="rect">
            <a:avLst/>
          </a:prstGeom>
          <a:noFill/>
          <a:ln w="50800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449164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Lef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2BFB6794-DF54-4F15-843C-009B575836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7336" y="1017588"/>
            <a:ext cx="4219707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600" b="1">
                <a:solidFill>
                  <a:schemeClr val="accent1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tx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938C6CF-C92A-455E-BDA8-BA47D4918DE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36960" y="1017588"/>
            <a:ext cx="4219704" cy="360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21182F8-39DD-402D-9322-090E37AF3E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70F129C2-FC0F-5D79-D2F5-A76CFCFB2E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39237192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TEXT_Lef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2BFB6794-DF54-4F15-843C-009B575836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7336" y="1017588"/>
            <a:ext cx="4219707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600" b="1">
                <a:solidFill>
                  <a:schemeClr val="accent1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tx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938C6CF-C92A-455E-BDA8-BA47D4918DE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36960" y="1017588"/>
            <a:ext cx="4219704" cy="360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21182F8-39DD-402D-9322-090E37AF3E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70F129C2-FC0F-5D79-D2F5-A76CFCFB2E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1908282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xLIN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D7926FA-4C37-4337-A48F-C1E3BB67A08D}"/>
              </a:ext>
            </a:extLst>
          </p:cNvPr>
          <p:cNvSpPr/>
          <p:nvPr userDrawn="1"/>
        </p:nvSpPr>
        <p:spPr>
          <a:xfrm>
            <a:off x="140677" y="600222"/>
            <a:ext cx="1350498" cy="2485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9FFDC42-125C-4054-A929-D2AEC3063789}"/>
              </a:ext>
            </a:extLst>
          </p:cNvPr>
          <p:cNvGrpSpPr/>
          <p:nvPr userDrawn="1"/>
        </p:nvGrpSpPr>
        <p:grpSpPr>
          <a:xfrm>
            <a:off x="295226" y="994644"/>
            <a:ext cx="995611" cy="72008"/>
            <a:chOff x="479376" y="980728"/>
            <a:chExt cx="995611" cy="72008"/>
          </a:xfrm>
        </p:grpSpPr>
        <p:cxnSp>
          <p:nvCxnSpPr>
            <p:cNvPr id="12" name="Connecteur droit 11">
              <a:extLst>
                <a:ext uri="{FF2B5EF4-FFF2-40B4-BE49-F238E27FC236}">
                  <a16:creationId xmlns:a16="http://schemas.microsoft.com/office/drawing/2014/main" id="{680F81FB-0C3F-4ACC-8152-C73B0FC424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</p:cxn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0F322F3-DC27-4466-81D1-86ACB0ECF7A9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" name="Titre 2">
            <a:extLst>
              <a:ext uri="{FF2B5EF4-FFF2-40B4-BE49-F238E27FC236}">
                <a16:creationId xmlns:a16="http://schemas.microsoft.com/office/drawing/2014/main" id="{881F32DB-A6B7-4BE6-8D7A-C2FD926E1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2784" y="211016"/>
            <a:ext cx="8556653" cy="721402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here </a:t>
            </a:r>
            <a:br>
              <a:rPr lang="en-US"/>
            </a:br>
            <a:r>
              <a:rPr lang="en-US"/>
              <a:t>to add a title </a:t>
            </a:r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9525850-0777-A6EE-F419-D78308D930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DED92A21-7615-5B0C-FC17-42FF930E925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87338" y="1309965"/>
            <a:ext cx="8569325" cy="33144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422123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BLOC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B9C1BD4-2402-4571-9F04-505A7FE75A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1017588"/>
            <a:ext cx="8569324" cy="3139972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600" b="1">
                <a:solidFill>
                  <a:schemeClr val="accent1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tx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DE2A36-88EC-4A13-9346-E7A65DB242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0607D16-1B92-3382-E419-3AFAAEA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Department / Company / Dat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579404-282D-4B0E-A99F-DB85776D4D8E}"/>
              </a:ext>
            </a:extLst>
          </p:cNvPr>
          <p:cNvSpPr/>
          <p:nvPr userDrawn="1"/>
        </p:nvSpPr>
        <p:spPr>
          <a:xfrm>
            <a:off x="287338" y="4171951"/>
            <a:ext cx="8569324" cy="457200"/>
          </a:xfrm>
          <a:prstGeom prst="rect">
            <a:avLst/>
          </a:prstGeom>
          <a:gradFill flip="none" rotWithShape="1">
            <a:gsLst>
              <a:gs pos="0">
                <a:srgbClr val="122A57"/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A6675F3D-A583-1C52-1FED-53EA7A7003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4396291"/>
            <a:ext cx="8569324" cy="184666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84286" indent="0">
              <a:buNone/>
              <a:defRPr>
                <a:solidFill>
                  <a:srgbClr val="FF0000"/>
                </a:solidFill>
              </a:defRPr>
            </a:lvl2pPr>
            <a:lvl3pPr marL="343152" indent="0">
              <a:buNone/>
              <a:defRPr>
                <a:solidFill>
                  <a:srgbClr val="FF0000"/>
                </a:solidFill>
              </a:defRPr>
            </a:lvl3pPr>
            <a:lvl4pPr marL="1372595" indent="0">
              <a:buNone/>
              <a:defRPr>
                <a:solidFill>
                  <a:srgbClr val="FF0000"/>
                </a:solidFill>
              </a:defRPr>
            </a:lvl4pPr>
            <a:lvl5pPr marL="1830123" indent="0">
              <a:buNone/>
              <a:defRPr>
                <a:solidFill>
                  <a:srgbClr val="FF0000"/>
                </a:solidFill>
              </a:defRPr>
            </a:lvl5pPr>
          </a:lstStyle>
          <a:p>
            <a:pPr lvl="0"/>
            <a:r>
              <a:rPr lang="fr-FR"/>
              <a:t>Lorem ipsum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. </a:t>
            </a:r>
            <a:r>
              <a:rPr lang="fr-FR" err="1"/>
              <a:t>Praesent</a:t>
            </a:r>
            <a:r>
              <a:rPr lang="fr-FR"/>
              <a:t> </a:t>
            </a:r>
            <a:r>
              <a:rPr lang="fr-FR" err="1"/>
              <a:t>hendrerit</a:t>
            </a:r>
            <a:r>
              <a:rPr lang="fr-FR"/>
              <a:t> </a:t>
            </a:r>
            <a:r>
              <a:rPr lang="fr-FR" err="1"/>
              <a:t>lacinia</a:t>
            </a:r>
            <a:r>
              <a:rPr lang="fr-FR"/>
              <a:t> </a:t>
            </a:r>
            <a:r>
              <a:rPr lang="fr-FR" err="1"/>
              <a:t>placerat</a:t>
            </a:r>
            <a:r>
              <a:rPr lang="fr-FR"/>
              <a:t>. </a:t>
            </a:r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9358AD63-E459-F89D-5CFD-8811589D16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4210783"/>
            <a:ext cx="8569324" cy="184666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 marL="184286" indent="0">
              <a:buNone/>
              <a:defRPr>
                <a:solidFill>
                  <a:srgbClr val="FF0000"/>
                </a:solidFill>
              </a:defRPr>
            </a:lvl2pPr>
            <a:lvl3pPr marL="343152" indent="0">
              <a:buNone/>
              <a:defRPr>
                <a:solidFill>
                  <a:srgbClr val="FF0000"/>
                </a:solidFill>
              </a:defRPr>
            </a:lvl3pPr>
            <a:lvl4pPr marL="1372595" indent="0">
              <a:buNone/>
              <a:defRPr>
                <a:solidFill>
                  <a:srgbClr val="FF0000"/>
                </a:solidFill>
              </a:defRPr>
            </a:lvl4pPr>
            <a:lvl5pPr marL="1830123" indent="0">
              <a:buNone/>
              <a:defRPr>
                <a:solidFill>
                  <a:srgbClr val="FF0000"/>
                </a:solidFill>
              </a:defRPr>
            </a:lvl5pPr>
          </a:lstStyle>
          <a:p>
            <a:pPr lvl="0"/>
            <a:r>
              <a:rPr lang="fr-FR"/>
              <a:t>Lorem ipsum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. </a:t>
            </a:r>
            <a:r>
              <a:rPr lang="fr-FR" err="1"/>
              <a:t>Praesent</a:t>
            </a:r>
            <a:r>
              <a:rPr lang="fr-FR"/>
              <a:t> </a:t>
            </a:r>
            <a:r>
              <a:rPr lang="fr-FR" err="1"/>
              <a:t>hendrerit</a:t>
            </a:r>
            <a:r>
              <a:rPr lang="fr-FR"/>
              <a:t> </a:t>
            </a:r>
            <a:r>
              <a:rPr lang="fr-FR" err="1"/>
              <a:t>lacinia</a:t>
            </a:r>
            <a:r>
              <a:rPr lang="fr-FR"/>
              <a:t> </a:t>
            </a:r>
            <a:r>
              <a:rPr lang="fr-FR" err="1"/>
              <a:t>placerat</a:t>
            </a:r>
            <a:r>
              <a:rPr lang="fr-FR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0039701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wered by Tru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62B4ADC-2F3D-9A7B-F4CB-9D3FBC2D15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CDE4E2B4-BAF4-F24A-FE22-73FA145D02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214687" y="1393495"/>
            <a:ext cx="2714625" cy="20955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41DE8A4-EE7A-6F57-AF4F-8DA5A5AB6DCA}"/>
              </a:ext>
            </a:extLst>
          </p:cNvPr>
          <p:cNvSpPr/>
          <p:nvPr userDrawn="1"/>
        </p:nvSpPr>
        <p:spPr>
          <a:xfrm>
            <a:off x="178191" y="581465"/>
            <a:ext cx="1542757" cy="2532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83434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pour une image  11">
            <a:extLst>
              <a:ext uri="{FF2B5EF4-FFF2-40B4-BE49-F238E27FC236}">
                <a16:creationId xmlns:a16="http://schemas.microsoft.com/office/drawing/2014/main" id="{EBB2A290-80EC-4D41-AB7F-4A0708C532A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" y="0"/>
            <a:ext cx="3651142" cy="5145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fr-FR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99D89894-D0E9-4EC0-9E26-DD5A1B2E5E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04655" y="1767832"/>
            <a:ext cx="3359385" cy="1693359"/>
          </a:xfrm>
          <a:prstGeom prst="rect">
            <a:avLst/>
          </a:prstGeom>
        </p:spPr>
        <p:txBody>
          <a:bodyPr l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600" b="1">
                <a:solidFill>
                  <a:schemeClr val="accent2"/>
                </a:solidFill>
                <a:latin typeface="+mj-lt"/>
              </a:defRPr>
            </a:lvl1pPr>
            <a:lvl2pPr marL="184286" indent="0">
              <a:buNone/>
              <a:defRPr>
                <a:latin typeface="+mn-lt"/>
              </a:defRPr>
            </a:lvl2pPr>
            <a:lvl3pPr marL="343152" indent="0">
              <a:buNone/>
              <a:defRPr>
                <a:latin typeface="+mn-lt"/>
              </a:defRPr>
            </a:lvl3pPr>
            <a:lvl4pPr marL="1372595" indent="0">
              <a:buNone/>
              <a:defRPr>
                <a:latin typeface="+mn-lt"/>
              </a:defRPr>
            </a:lvl4pPr>
            <a:lvl5pPr marL="1830123" indent="0">
              <a:buNone/>
              <a:defRPr>
                <a:latin typeface="+mn-lt"/>
              </a:defRPr>
            </a:lvl5pPr>
          </a:lstStyle>
          <a:p>
            <a:pPr lvl="0"/>
            <a:r>
              <a:rPr lang="da-DK"/>
              <a:t>Lorem ipsum</a:t>
            </a:r>
            <a:br>
              <a:rPr lang="da-DK"/>
            </a:br>
            <a:r>
              <a:rPr lang="da-DK"/>
              <a:t>dolor sit amet</a:t>
            </a:r>
            <a:endParaRPr lang="fr-FR"/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D575B653-E75E-4D6F-B409-9D8F0B5143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04655" y="1172722"/>
            <a:ext cx="3359386" cy="511175"/>
          </a:xfrm>
          <a:prstGeom prst="rect">
            <a:avLst/>
          </a:prstGeom>
        </p:spPr>
        <p:txBody>
          <a:bodyPr lIns="0" anchor="b" anchorCtr="0"/>
          <a:lstStyle>
            <a:lvl1pPr marL="0" indent="0" algn="l">
              <a:buNone/>
              <a:defRPr sz="2000">
                <a:solidFill>
                  <a:schemeClr val="accent5"/>
                </a:solidFill>
              </a:defRPr>
            </a:lvl1pPr>
            <a:lvl2pPr marL="184286" indent="0" algn="ctr">
              <a:buNone/>
              <a:defRPr>
                <a:solidFill>
                  <a:schemeClr val="tx1"/>
                </a:solidFill>
              </a:defRPr>
            </a:lvl2pPr>
            <a:lvl3pPr marL="343152" indent="0" algn="ctr">
              <a:buNone/>
              <a:defRPr>
                <a:solidFill>
                  <a:schemeClr val="tx1"/>
                </a:solidFill>
              </a:defRPr>
            </a:lvl3pPr>
            <a:lvl4pPr marL="1372595" indent="0" algn="ctr">
              <a:buNone/>
              <a:defRPr>
                <a:solidFill>
                  <a:schemeClr val="tx1"/>
                </a:solidFill>
              </a:defRPr>
            </a:lvl4pPr>
            <a:lvl5pPr marL="1830123" indent="0" algn="ct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err="1"/>
              <a:t>Chapter</a:t>
            </a:r>
            <a:r>
              <a:rPr lang="fr-FR"/>
              <a:t> 01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45DF7EE-7BCF-4102-B7A8-B8F30BEEB4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037563" y="4837246"/>
            <a:ext cx="817635" cy="173146"/>
          </a:xfrm>
          <a:prstGeom prst="rect">
            <a:avLst/>
          </a:prstGeom>
          <a:noFill/>
        </p:spPr>
      </p:pic>
      <p:grpSp>
        <p:nvGrpSpPr>
          <p:cNvPr id="16" name="Groupe 15">
            <a:extLst>
              <a:ext uri="{FF2B5EF4-FFF2-40B4-BE49-F238E27FC236}">
                <a16:creationId xmlns:a16="http://schemas.microsoft.com/office/drawing/2014/main" id="{5D6F8FA4-48E5-21EC-199A-43C0B70F4374}"/>
              </a:ext>
            </a:extLst>
          </p:cNvPr>
          <p:cNvGrpSpPr/>
          <p:nvPr userDrawn="1"/>
        </p:nvGrpSpPr>
        <p:grpSpPr>
          <a:xfrm>
            <a:off x="4104655" y="3616857"/>
            <a:ext cx="995611" cy="72008"/>
            <a:chOff x="479376" y="980728"/>
            <a:chExt cx="995611" cy="72008"/>
          </a:xfrm>
        </p:grpSpPr>
        <p:cxnSp>
          <p:nvCxnSpPr>
            <p:cNvPr id="17" name="Connecteur droit 16">
              <a:extLst>
                <a:ext uri="{FF2B5EF4-FFF2-40B4-BE49-F238E27FC236}">
                  <a16:creationId xmlns:a16="http://schemas.microsoft.com/office/drawing/2014/main" id="{9D1B0D41-C458-FEE5-0B93-12C4E225C5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2BF881F-F4F9-28B8-D517-60C2B4FC0349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4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14737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8B5E11D-EF93-41A8-A600-0E2A21B23E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62B4ADC-2F3D-9A7B-F4CB-9D3FBC2D15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  <p:sp>
        <p:nvSpPr>
          <p:cNvPr id="6" name="Espace réservé du contenu 3">
            <a:extLst>
              <a:ext uri="{FF2B5EF4-FFF2-40B4-BE49-F238E27FC236}">
                <a16:creationId xmlns:a16="http://schemas.microsoft.com/office/drawing/2014/main" id="{14E6BA19-6303-EEAE-18EC-0686F94CEE2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87338" y="1017589"/>
            <a:ext cx="8569325" cy="360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32866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B9C1BD4-2402-4571-9F04-505A7FE75A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1017588"/>
            <a:ext cx="8569324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defRPr sz="1600" b="1">
                <a:solidFill>
                  <a:schemeClr val="accent2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chemeClr val="accent5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accent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chemeClr val="accent5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accent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DE2A36-88EC-4A13-9346-E7A65DB242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0607D16-1B92-3382-E419-3AFAAEA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16287723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x2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B9C1BD4-2402-4571-9F04-505A7FE75A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7" y="1017588"/>
            <a:ext cx="4219705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defRPr sz="1600" b="1">
                <a:solidFill>
                  <a:schemeClr val="accent2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chemeClr val="accent5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accent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chemeClr val="accent5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accent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2908127-A165-46B7-B40F-9C1A61E43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83B0D2BD-64EB-4133-9A53-E4F4DEB7B0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41953" y="1017588"/>
            <a:ext cx="4214709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defRPr sz="1600" b="1">
                <a:solidFill>
                  <a:schemeClr val="accent2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chemeClr val="accent5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accent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chemeClr val="accent5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accent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269925D1-628C-E93F-77A3-4DE682A3F3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1358097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Righ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2BFB6794-DF54-4F15-843C-009B575836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41953" y="1017588"/>
            <a:ext cx="4214709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defRPr sz="1600" b="1">
                <a:solidFill>
                  <a:schemeClr val="accent2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chemeClr val="accent5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accent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chemeClr val="accent5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accent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938C6CF-C92A-455E-BDA8-BA47D4918DE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7339" y="1017588"/>
            <a:ext cx="4214710" cy="360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21182F8-39DD-402D-9322-090E37AF3E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3B1F21EB-8662-8C41-3C0A-0F605CB04B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31519378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NY COVER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377EA998-C783-46B4-8BD4-7807D686D2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406969" y="4623601"/>
            <a:ext cx="816911" cy="171187"/>
          </a:xfrm>
          <a:prstGeom prst="rect">
            <a:avLst/>
          </a:prstGeom>
        </p:spPr>
      </p:pic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99D89894-D0E9-4EC0-9E26-DD5A1B2E5E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5750" y="1767833"/>
            <a:ext cx="3056172" cy="11135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buNone/>
              <a:defRPr sz="2600" b="1">
                <a:latin typeface="+mn-lt"/>
              </a:defRPr>
            </a:lvl1pPr>
            <a:lvl2pPr marL="184286" indent="0">
              <a:buNone/>
              <a:defRPr>
                <a:latin typeface="+mn-lt"/>
              </a:defRPr>
            </a:lvl2pPr>
            <a:lvl3pPr marL="343152" indent="0">
              <a:buNone/>
              <a:defRPr>
                <a:latin typeface="+mn-lt"/>
              </a:defRPr>
            </a:lvl3pPr>
            <a:lvl4pPr marL="1372595" indent="0">
              <a:buNone/>
              <a:defRPr>
                <a:latin typeface="+mn-lt"/>
              </a:defRPr>
            </a:lvl4pPr>
            <a:lvl5pPr marL="1830123" indent="0">
              <a:buNone/>
              <a:defRPr>
                <a:latin typeface="+mn-lt"/>
              </a:defRPr>
            </a:lvl5pPr>
          </a:lstStyle>
          <a:p>
            <a:pPr lvl="0"/>
            <a:r>
              <a:rPr lang="da-DK"/>
              <a:t>Lorem ipsum</a:t>
            </a:r>
            <a:br>
              <a:rPr lang="da-DK"/>
            </a:br>
            <a:r>
              <a:rPr lang="da-DK"/>
              <a:t>dolor sit amet</a:t>
            </a:r>
            <a:endParaRPr lang="fr-FR"/>
          </a:p>
        </p:txBody>
      </p:sp>
      <p:sp>
        <p:nvSpPr>
          <p:cNvPr id="26" name="Espace réservé pour une image  11">
            <a:extLst>
              <a:ext uri="{FF2B5EF4-FFF2-40B4-BE49-F238E27FC236}">
                <a16:creationId xmlns:a16="http://schemas.microsoft.com/office/drawing/2014/main" id="{EBB2A290-80EC-4D41-AB7F-4A0708C532A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627672" y="0"/>
            <a:ext cx="5516327" cy="5145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change the picture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733587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Lef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2BFB6794-DF54-4F15-843C-009B575836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7336" y="1017588"/>
            <a:ext cx="4219707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defRPr sz="1600" b="1">
                <a:solidFill>
                  <a:schemeClr val="accent2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chemeClr val="accent5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accent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chemeClr val="accent5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accent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938C6CF-C92A-455E-BDA8-BA47D4918DE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36960" y="1017588"/>
            <a:ext cx="4219704" cy="360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21182F8-39DD-402D-9322-090E37AF3E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70F129C2-FC0F-5D79-D2F5-A76CFCFB2E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10788076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xLIN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D7926FA-4C37-4337-A48F-C1E3BB67A08D}"/>
              </a:ext>
            </a:extLst>
          </p:cNvPr>
          <p:cNvSpPr/>
          <p:nvPr userDrawn="1"/>
        </p:nvSpPr>
        <p:spPr>
          <a:xfrm>
            <a:off x="140677" y="600222"/>
            <a:ext cx="1350498" cy="2485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F9FFDC42-125C-4054-A929-D2AEC3063789}"/>
              </a:ext>
            </a:extLst>
          </p:cNvPr>
          <p:cNvGrpSpPr/>
          <p:nvPr userDrawn="1"/>
        </p:nvGrpSpPr>
        <p:grpSpPr>
          <a:xfrm>
            <a:off x="295226" y="994644"/>
            <a:ext cx="995611" cy="72008"/>
            <a:chOff x="479376" y="980728"/>
            <a:chExt cx="995611" cy="72008"/>
          </a:xfrm>
        </p:grpSpPr>
        <p:cxnSp>
          <p:nvCxnSpPr>
            <p:cNvPr id="12" name="Connecteur droit 11">
              <a:extLst>
                <a:ext uri="{FF2B5EF4-FFF2-40B4-BE49-F238E27FC236}">
                  <a16:creationId xmlns:a16="http://schemas.microsoft.com/office/drawing/2014/main" id="{680F81FB-0C3F-4ACC-8152-C73B0FC424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</p:cxn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0F322F3-DC27-4466-81D1-86ACB0ECF7A9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4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" name="Titre 2">
            <a:extLst>
              <a:ext uri="{FF2B5EF4-FFF2-40B4-BE49-F238E27FC236}">
                <a16:creationId xmlns:a16="http://schemas.microsoft.com/office/drawing/2014/main" id="{881F32DB-A6B7-4BE6-8D7A-C2FD926E1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2784" y="211016"/>
            <a:ext cx="8556653" cy="721402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here </a:t>
            </a:r>
            <a:br>
              <a:rPr lang="en-US"/>
            </a:br>
            <a:r>
              <a:rPr lang="en-US"/>
              <a:t>to add a title </a:t>
            </a:r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9525850-0777-A6EE-F419-D78308D930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DED92A21-7615-5B0C-FC17-42FF930E925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87338" y="1309965"/>
            <a:ext cx="8569325" cy="33144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174155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BLOC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B9C1BD4-2402-4571-9F04-505A7FE75A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1017588"/>
            <a:ext cx="8569324" cy="3139972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600" b="1">
                <a:solidFill>
                  <a:schemeClr val="accent1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tx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DE2A36-88EC-4A13-9346-E7A65DB242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0607D16-1B92-3382-E419-3AFAAEA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Department / Company / Dat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579404-282D-4B0E-A99F-DB85776D4D8E}"/>
              </a:ext>
            </a:extLst>
          </p:cNvPr>
          <p:cNvSpPr/>
          <p:nvPr userDrawn="1"/>
        </p:nvSpPr>
        <p:spPr>
          <a:xfrm>
            <a:off x="287338" y="4171951"/>
            <a:ext cx="8569324" cy="457200"/>
          </a:xfrm>
          <a:prstGeom prst="rect">
            <a:avLst/>
          </a:prstGeom>
          <a:gradFill flip="none" rotWithShape="1">
            <a:gsLst>
              <a:gs pos="0">
                <a:srgbClr val="C51F4E"/>
              </a:gs>
              <a:gs pos="100000">
                <a:srgbClr val="EB3986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A6675F3D-A583-1C52-1FED-53EA7A7003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4396291"/>
            <a:ext cx="8569324" cy="184666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84286" indent="0">
              <a:buNone/>
              <a:defRPr>
                <a:solidFill>
                  <a:srgbClr val="FF0000"/>
                </a:solidFill>
              </a:defRPr>
            </a:lvl2pPr>
            <a:lvl3pPr marL="343152" indent="0">
              <a:buNone/>
              <a:defRPr>
                <a:solidFill>
                  <a:srgbClr val="FF0000"/>
                </a:solidFill>
              </a:defRPr>
            </a:lvl3pPr>
            <a:lvl4pPr marL="1372595" indent="0">
              <a:buNone/>
              <a:defRPr>
                <a:solidFill>
                  <a:srgbClr val="FF0000"/>
                </a:solidFill>
              </a:defRPr>
            </a:lvl4pPr>
            <a:lvl5pPr marL="1830123" indent="0">
              <a:buNone/>
              <a:defRPr>
                <a:solidFill>
                  <a:srgbClr val="FF0000"/>
                </a:solidFill>
              </a:defRPr>
            </a:lvl5pPr>
          </a:lstStyle>
          <a:p>
            <a:pPr lvl="0"/>
            <a:r>
              <a:rPr lang="fr-FR"/>
              <a:t>Lorem ipsum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. </a:t>
            </a:r>
            <a:r>
              <a:rPr lang="fr-FR" err="1"/>
              <a:t>Praesent</a:t>
            </a:r>
            <a:r>
              <a:rPr lang="fr-FR"/>
              <a:t> </a:t>
            </a:r>
            <a:r>
              <a:rPr lang="fr-FR" err="1"/>
              <a:t>hendrerit</a:t>
            </a:r>
            <a:r>
              <a:rPr lang="fr-FR"/>
              <a:t> </a:t>
            </a:r>
            <a:r>
              <a:rPr lang="fr-FR" err="1"/>
              <a:t>lacinia</a:t>
            </a:r>
            <a:r>
              <a:rPr lang="fr-FR"/>
              <a:t> </a:t>
            </a:r>
            <a:r>
              <a:rPr lang="fr-FR" err="1"/>
              <a:t>placerat</a:t>
            </a:r>
            <a:r>
              <a:rPr lang="fr-FR"/>
              <a:t>. </a:t>
            </a:r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9358AD63-E459-F89D-5CFD-8811589D16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4210783"/>
            <a:ext cx="8569324" cy="184666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 marL="184286" indent="0">
              <a:buNone/>
              <a:defRPr>
                <a:solidFill>
                  <a:srgbClr val="FF0000"/>
                </a:solidFill>
              </a:defRPr>
            </a:lvl2pPr>
            <a:lvl3pPr marL="343152" indent="0">
              <a:buNone/>
              <a:defRPr>
                <a:solidFill>
                  <a:srgbClr val="FF0000"/>
                </a:solidFill>
              </a:defRPr>
            </a:lvl3pPr>
            <a:lvl4pPr marL="1372595" indent="0">
              <a:buNone/>
              <a:defRPr>
                <a:solidFill>
                  <a:srgbClr val="FF0000"/>
                </a:solidFill>
              </a:defRPr>
            </a:lvl4pPr>
            <a:lvl5pPr marL="1830123" indent="0">
              <a:buNone/>
              <a:defRPr>
                <a:solidFill>
                  <a:srgbClr val="FF0000"/>
                </a:solidFill>
              </a:defRPr>
            </a:lvl5pPr>
          </a:lstStyle>
          <a:p>
            <a:pPr lvl="0"/>
            <a:r>
              <a:rPr lang="fr-FR"/>
              <a:t>Lorem ipsum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. </a:t>
            </a:r>
            <a:r>
              <a:rPr lang="fr-FR" err="1"/>
              <a:t>Praesent</a:t>
            </a:r>
            <a:r>
              <a:rPr lang="fr-FR"/>
              <a:t> </a:t>
            </a:r>
            <a:r>
              <a:rPr lang="fr-FR" err="1"/>
              <a:t>hendrerit</a:t>
            </a:r>
            <a:r>
              <a:rPr lang="fr-FR"/>
              <a:t> </a:t>
            </a:r>
            <a:r>
              <a:rPr lang="fr-FR" err="1"/>
              <a:t>lacinia</a:t>
            </a:r>
            <a:r>
              <a:rPr lang="fr-FR"/>
              <a:t> </a:t>
            </a:r>
            <a:r>
              <a:rPr lang="fr-FR" err="1"/>
              <a:t>placerat</a:t>
            </a:r>
            <a:r>
              <a:rPr lang="fr-FR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474517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pour une image  11">
            <a:extLst>
              <a:ext uri="{FF2B5EF4-FFF2-40B4-BE49-F238E27FC236}">
                <a16:creationId xmlns:a16="http://schemas.microsoft.com/office/drawing/2014/main" id="{EBB2A290-80EC-4D41-AB7F-4A0708C532A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" y="0"/>
            <a:ext cx="3651142" cy="5145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fr-FR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99D89894-D0E9-4EC0-9E26-DD5A1B2E5E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04655" y="1767832"/>
            <a:ext cx="3359385" cy="1693359"/>
          </a:xfrm>
          <a:prstGeom prst="rect">
            <a:avLst/>
          </a:prstGeom>
        </p:spPr>
        <p:txBody>
          <a:bodyPr l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600" b="1">
                <a:solidFill>
                  <a:schemeClr val="accent2"/>
                </a:solidFill>
                <a:latin typeface="+mj-lt"/>
              </a:defRPr>
            </a:lvl1pPr>
            <a:lvl2pPr marL="184286" indent="0">
              <a:buNone/>
              <a:defRPr>
                <a:latin typeface="+mn-lt"/>
              </a:defRPr>
            </a:lvl2pPr>
            <a:lvl3pPr marL="343152" indent="0">
              <a:buNone/>
              <a:defRPr>
                <a:latin typeface="+mn-lt"/>
              </a:defRPr>
            </a:lvl3pPr>
            <a:lvl4pPr marL="1372595" indent="0">
              <a:buNone/>
              <a:defRPr>
                <a:latin typeface="+mn-lt"/>
              </a:defRPr>
            </a:lvl4pPr>
            <a:lvl5pPr marL="1830123" indent="0">
              <a:buNone/>
              <a:defRPr>
                <a:latin typeface="+mn-lt"/>
              </a:defRPr>
            </a:lvl5pPr>
          </a:lstStyle>
          <a:p>
            <a:pPr lvl="0"/>
            <a:r>
              <a:rPr lang="da-DK"/>
              <a:t>Lorem ipsum</a:t>
            </a:r>
            <a:br>
              <a:rPr lang="da-DK"/>
            </a:br>
            <a:r>
              <a:rPr lang="da-DK"/>
              <a:t>dolor sit amet</a:t>
            </a:r>
            <a:endParaRPr lang="fr-FR"/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D575B653-E75E-4D6F-B409-9D8F0B5143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04655" y="1172722"/>
            <a:ext cx="3359386" cy="511175"/>
          </a:xfrm>
          <a:prstGeom prst="rect">
            <a:avLst/>
          </a:prstGeom>
        </p:spPr>
        <p:txBody>
          <a:bodyPr lIns="0" anchor="b" anchorCtr="0"/>
          <a:lstStyle>
            <a:lvl1pPr marL="0" indent="0" algn="l">
              <a:buNone/>
              <a:defRPr sz="2000">
                <a:solidFill>
                  <a:schemeClr val="accent4"/>
                </a:solidFill>
              </a:defRPr>
            </a:lvl1pPr>
            <a:lvl2pPr marL="184286" indent="0" algn="ctr">
              <a:buNone/>
              <a:defRPr>
                <a:solidFill>
                  <a:schemeClr val="tx1"/>
                </a:solidFill>
              </a:defRPr>
            </a:lvl2pPr>
            <a:lvl3pPr marL="343152" indent="0" algn="ctr">
              <a:buNone/>
              <a:defRPr>
                <a:solidFill>
                  <a:schemeClr val="tx1"/>
                </a:solidFill>
              </a:defRPr>
            </a:lvl3pPr>
            <a:lvl4pPr marL="1372595" indent="0" algn="ctr">
              <a:buNone/>
              <a:defRPr>
                <a:solidFill>
                  <a:schemeClr val="tx1"/>
                </a:solidFill>
              </a:defRPr>
            </a:lvl4pPr>
            <a:lvl5pPr marL="1830123" indent="0" algn="ct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err="1"/>
              <a:t>Chapter</a:t>
            </a:r>
            <a:r>
              <a:rPr lang="fr-FR"/>
              <a:t> 01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45DF7EE-7BCF-4102-B7A8-B8F30BEEB4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037563" y="4837246"/>
            <a:ext cx="817635" cy="173146"/>
          </a:xfrm>
          <a:prstGeom prst="rect">
            <a:avLst/>
          </a:prstGeom>
          <a:noFill/>
        </p:spPr>
      </p:pic>
      <p:grpSp>
        <p:nvGrpSpPr>
          <p:cNvPr id="16" name="Groupe 15">
            <a:extLst>
              <a:ext uri="{FF2B5EF4-FFF2-40B4-BE49-F238E27FC236}">
                <a16:creationId xmlns:a16="http://schemas.microsoft.com/office/drawing/2014/main" id="{5D6F8FA4-48E5-21EC-199A-43C0B70F4374}"/>
              </a:ext>
            </a:extLst>
          </p:cNvPr>
          <p:cNvGrpSpPr/>
          <p:nvPr userDrawn="1"/>
        </p:nvGrpSpPr>
        <p:grpSpPr>
          <a:xfrm>
            <a:off x="4104655" y="3616857"/>
            <a:ext cx="995611" cy="72008"/>
            <a:chOff x="479376" y="980728"/>
            <a:chExt cx="995611" cy="72008"/>
          </a:xfrm>
        </p:grpSpPr>
        <p:cxnSp>
          <p:nvCxnSpPr>
            <p:cNvPr id="17" name="Connecteur droit 16">
              <a:extLst>
                <a:ext uri="{FF2B5EF4-FFF2-40B4-BE49-F238E27FC236}">
                  <a16:creationId xmlns:a16="http://schemas.microsoft.com/office/drawing/2014/main" id="{9D1B0D41-C458-FEE5-0B93-12C4E225C5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2BF881F-F4F9-28B8-D517-60C2B4FC0349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4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11525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8B5E11D-EF93-41A8-A600-0E2A21B23E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62B4ADC-2F3D-9A7B-F4CB-9D3FBC2D15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  <p:sp>
        <p:nvSpPr>
          <p:cNvPr id="6" name="Espace réservé du contenu 3">
            <a:extLst>
              <a:ext uri="{FF2B5EF4-FFF2-40B4-BE49-F238E27FC236}">
                <a16:creationId xmlns:a16="http://schemas.microsoft.com/office/drawing/2014/main" id="{14E6BA19-6303-EEAE-18EC-0686F94CEE2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87338" y="1017589"/>
            <a:ext cx="8569325" cy="360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376002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B9C1BD4-2402-4571-9F04-505A7FE75A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1017588"/>
            <a:ext cx="8569324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buClr>
                <a:srgbClr val="FFB600"/>
              </a:buClr>
              <a:defRPr sz="1600" b="1">
                <a:solidFill>
                  <a:schemeClr val="accent2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rgbClr val="FFB600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accent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rgbClr val="FFB600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accent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DE2A36-88EC-4A13-9346-E7A65DB242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0607D16-1B92-3382-E419-3AFAAEA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35524166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x2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B9C1BD4-2402-4571-9F04-505A7FE75A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7" y="1017588"/>
            <a:ext cx="4219705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buClr>
                <a:srgbClr val="FFB600"/>
              </a:buClr>
              <a:defRPr sz="1600" b="1">
                <a:solidFill>
                  <a:schemeClr val="accent2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rgbClr val="FFB600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accent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rgbClr val="FFB600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accent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2908127-A165-46B7-B40F-9C1A61E43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83B0D2BD-64EB-4133-9A53-E4F4DEB7B0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41953" y="1017588"/>
            <a:ext cx="4214709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buClr>
                <a:srgbClr val="FFB600"/>
              </a:buClr>
              <a:defRPr sz="1600" b="1">
                <a:solidFill>
                  <a:schemeClr val="accent2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rgbClr val="FFB600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accent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rgbClr val="FFB600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accent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269925D1-628C-E93F-77A3-4DE682A3F3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13656357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Righ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2BFB6794-DF54-4F15-843C-009B575836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41953" y="1017588"/>
            <a:ext cx="4214709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buClr>
                <a:srgbClr val="FFB600"/>
              </a:buClr>
              <a:defRPr sz="1600" b="1">
                <a:solidFill>
                  <a:schemeClr val="accent2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rgbClr val="FFB600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accent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rgbClr val="FFB600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accent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938C6CF-C92A-455E-BDA8-BA47D4918DE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7339" y="1017588"/>
            <a:ext cx="4214710" cy="360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21182F8-39DD-402D-9322-090E37AF3E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3B1F21EB-8662-8C41-3C0A-0F605CB04B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37802576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Lef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2BFB6794-DF54-4F15-843C-009B575836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7336" y="1017588"/>
            <a:ext cx="4219707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buClr>
                <a:srgbClr val="FFB600"/>
              </a:buClr>
              <a:defRPr sz="1600" b="1">
                <a:solidFill>
                  <a:schemeClr val="accent2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rgbClr val="FFB600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accent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rgbClr val="FFB600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accent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938C6CF-C92A-455E-BDA8-BA47D4918DE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36960" y="1017588"/>
            <a:ext cx="4219704" cy="360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21182F8-39DD-402D-9322-090E37AF3E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70F129C2-FC0F-5D79-D2F5-A76CFCFB2E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9761479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xLIN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D7926FA-4C37-4337-A48F-C1E3BB67A08D}"/>
              </a:ext>
            </a:extLst>
          </p:cNvPr>
          <p:cNvSpPr/>
          <p:nvPr userDrawn="1"/>
        </p:nvSpPr>
        <p:spPr>
          <a:xfrm>
            <a:off x="140677" y="600222"/>
            <a:ext cx="1350498" cy="2485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81F32DB-A6B7-4BE6-8D7A-C2FD926E1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2784" y="211016"/>
            <a:ext cx="8556653" cy="721402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here </a:t>
            </a:r>
            <a:br>
              <a:rPr lang="en-US"/>
            </a:br>
            <a:r>
              <a:rPr lang="en-US"/>
              <a:t>to add a title </a:t>
            </a:r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9525850-0777-A6EE-F419-D78308D930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DED92A21-7615-5B0C-FC17-42FF930E925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87338" y="1309965"/>
            <a:ext cx="8569325" cy="33144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fr-FR"/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EDDC600F-F5AB-733C-F1BB-312353409E9D}"/>
              </a:ext>
            </a:extLst>
          </p:cNvPr>
          <p:cNvGrpSpPr/>
          <p:nvPr userDrawn="1"/>
        </p:nvGrpSpPr>
        <p:grpSpPr>
          <a:xfrm>
            <a:off x="295226" y="994644"/>
            <a:ext cx="995611" cy="72008"/>
            <a:chOff x="479376" y="980728"/>
            <a:chExt cx="995611" cy="72008"/>
          </a:xfrm>
        </p:grpSpPr>
        <p:cxnSp>
          <p:nvCxnSpPr>
            <p:cNvPr id="17" name="Connecteur droit 16">
              <a:extLst>
                <a:ext uri="{FF2B5EF4-FFF2-40B4-BE49-F238E27FC236}">
                  <a16:creationId xmlns:a16="http://schemas.microsoft.com/office/drawing/2014/main" id="{D24CA608-6107-494B-8F05-BE184BCE3BB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rgbClr val="FF7800"/>
              </a:solidFill>
              <a:prstDash val="solid"/>
              <a:miter lim="800000"/>
            </a:ln>
            <a:effectLst/>
          </p:spPr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5953777-23B2-192E-C998-29B48963F261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rgbClr val="FFB600"/>
                </a:gs>
                <a:gs pos="100000">
                  <a:srgbClr val="FF7800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36095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BDB1C3F0-4A11-435C-8324-568AE7075BB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change the picture</a:t>
            </a:r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06633A7-0570-4272-9A48-35C8701B3475}"/>
              </a:ext>
            </a:extLst>
          </p:cNvPr>
          <p:cNvSpPr/>
          <p:nvPr userDrawn="1"/>
        </p:nvSpPr>
        <p:spPr>
          <a:xfrm>
            <a:off x="0" y="1795750"/>
            <a:ext cx="9144000" cy="3349340"/>
          </a:xfrm>
          <a:prstGeom prst="rect">
            <a:avLst/>
          </a:prstGeom>
          <a:gradFill flip="none" rotWithShape="1">
            <a:gsLst>
              <a:gs pos="100000">
                <a:schemeClr val="tx2">
                  <a:alpha val="0"/>
                </a:schemeClr>
              </a:gs>
              <a:gs pos="0">
                <a:schemeClr val="accent2">
                  <a:alpha val="57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/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9590BB62-E3E4-4D8C-8274-162D53D5B76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3902" y="1439549"/>
            <a:ext cx="7836198" cy="59093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lnSpc>
                <a:spcPct val="90000"/>
              </a:lnSpc>
              <a:buNone/>
              <a:defRPr sz="3600" b="1">
                <a:latin typeface="+mj-lt"/>
              </a:defRPr>
            </a:lvl1pPr>
            <a:lvl2pPr marL="184286" indent="0">
              <a:buNone/>
              <a:defRPr>
                <a:latin typeface="+mn-lt"/>
              </a:defRPr>
            </a:lvl2pPr>
            <a:lvl3pPr marL="343152" indent="0">
              <a:buNone/>
              <a:defRPr>
                <a:latin typeface="+mn-lt"/>
              </a:defRPr>
            </a:lvl3pPr>
            <a:lvl4pPr marL="1372595" indent="0">
              <a:buNone/>
              <a:defRPr>
                <a:latin typeface="+mn-lt"/>
              </a:defRPr>
            </a:lvl4pPr>
            <a:lvl5pPr marL="1830123" indent="0">
              <a:buNone/>
              <a:defRPr>
                <a:latin typeface="+mn-lt"/>
              </a:defRPr>
            </a:lvl5pPr>
          </a:lstStyle>
          <a:p>
            <a:pPr lvl="0"/>
            <a:r>
              <a:rPr lang="fr-FR"/>
              <a:t>Lorem</a:t>
            </a:r>
          </a:p>
        </p:txBody>
      </p:sp>
      <p:sp>
        <p:nvSpPr>
          <p:cNvPr id="13" name="Espace réservé du texte 7">
            <a:extLst>
              <a:ext uri="{FF2B5EF4-FFF2-40B4-BE49-F238E27FC236}">
                <a16:creationId xmlns:a16="http://schemas.microsoft.com/office/drawing/2014/main" id="{000445AC-A451-4D20-B4D4-455E6F3005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4570" y="1958486"/>
            <a:ext cx="7834862" cy="99719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 b="0" spc="-50" baseline="0">
                <a:latin typeface="+mn-lt"/>
              </a:defRPr>
            </a:lvl1pPr>
            <a:lvl2pPr marL="184286" indent="0">
              <a:buNone/>
              <a:defRPr>
                <a:latin typeface="+mn-lt"/>
              </a:defRPr>
            </a:lvl2pPr>
            <a:lvl3pPr marL="343152" indent="0">
              <a:buNone/>
              <a:defRPr>
                <a:latin typeface="+mn-lt"/>
              </a:defRPr>
            </a:lvl3pPr>
            <a:lvl4pPr marL="1372595" indent="0">
              <a:buNone/>
              <a:defRPr>
                <a:latin typeface="+mn-lt"/>
              </a:defRPr>
            </a:lvl4pPr>
            <a:lvl5pPr marL="1830123" indent="0">
              <a:buNone/>
              <a:defRPr>
                <a:latin typeface="+mn-lt"/>
              </a:defRPr>
            </a:lvl5pPr>
          </a:lstStyle>
          <a:p>
            <a:pPr lvl="0"/>
            <a:r>
              <a:rPr lang="fr-FR"/>
              <a:t>Suspendisse </a:t>
            </a:r>
            <a:r>
              <a:rPr lang="fr-FR" err="1"/>
              <a:t>fermentum</a:t>
            </a:r>
            <a:r>
              <a:rPr lang="fr-FR"/>
              <a:t> </a:t>
            </a:r>
            <a:r>
              <a:rPr lang="fr-FR" err="1"/>
              <a:t>dui</a:t>
            </a:r>
            <a:r>
              <a:rPr lang="fr-FR"/>
              <a:t> ipsum,</a:t>
            </a:r>
            <a:br>
              <a:rPr lang="fr-FR"/>
            </a:br>
            <a:r>
              <a:rPr lang="fr-FR" err="1"/>
              <a:t>vel</a:t>
            </a:r>
            <a:r>
              <a:rPr lang="fr-FR"/>
              <a:t> </a:t>
            </a:r>
            <a:r>
              <a:rPr lang="fr-FR" err="1"/>
              <a:t>tempus</a:t>
            </a:r>
            <a:r>
              <a:rPr lang="fr-FR"/>
              <a:t> </a:t>
            </a:r>
            <a:r>
              <a:rPr lang="fr-FR" err="1"/>
              <a:t>tellus</a:t>
            </a:r>
            <a:r>
              <a:rPr lang="fr-FR"/>
              <a:t> </a:t>
            </a:r>
            <a:r>
              <a:rPr lang="fr-FR" err="1"/>
              <a:t>sagittis</a:t>
            </a:r>
            <a:r>
              <a:rPr lang="fr-FR"/>
              <a:t> non</a:t>
            </a:r>
          </a:p>
        </p:txBody>
      </p: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68E7788A-0113-40BF-8A1B-6D5D21A059E8}"/>
              </a:ext>
            </a:extLst>
          </p:cNvPr>
          <p:cNvCxnSpPr>
            <a:cxnSpLocks/>
          </p:cNvCxnSpPr>
          <p:nvPr userDrawn="1"/>
        </p:nvCxnSpPr>
        <p:spPr>
          <a:xfrm>
            <a:off x="506984" y="4762165"/>
            <a:ext cx="0" cy="13849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234F41C3-3665-4CBE-83EB-C63EFB245D7E}"/>
              </a:ext>
            </a:extLst>
          </p:cNvPr>
          <p:cNvSpPr txBox="1"/>
          <p:nvPr userDrawn="1"/>
        </p:nvSpPr>
        <p:spPr>
          <a:xfrm>
            <a:off x="287338" y="4913692"/>
            <a:ext cx="7107374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700" b="0" i="0" u="none" strike="noStrike" baseline="0">
                <a:solidFill>
                  <a:schemeClr val="bg1"/>
                </a:solidFill>
                <a:latin typeface="+mn-lt"/>
              </a:rPr>
              <a:t>This document and the information therein are the property of Safran. They must not be copied or communicated to a third party without the prior written authorization of Safran</a:t>
            </a:r>
            <a:endParaRPr lang="fr-FR" sz="16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Espace réservé du numéro de diapositive 13">
            <a:extLst>
              <a:ext uri="{FF2B5EF4-FFF2-40B4-BE49-F238E27FC236}">
                <a16:creationId xmlns:a16="http://schemas.microsoft.com/office/drawing/2014/main" id="{B2A08755-C794-4F4B-90FB-C319F4EB5070}"/>
              </a:ext>
            </a:extLst>
          </p:cNvPr>
          <p:cNvSpPr txBox="1">
            <a:spLocks/>
          </p:cNvSpPr>
          <p:nvPr userDrawn="1"/>
        </p:nvSpPr>
        <p:spPr>
          <a:xfrm>
            <a:off x="300010" y="4769393"/>
            <a:ext cx="19075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1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E85CA73-2D89-4D6A-A923-B574D1DA086D}" type="slidenum">
              <a:rPr lang="fr-FR" sz="800" smtClean="0">
                <a:solidFill>
                  <a:schemeClr val="bg1"/>
                </a:solidFill>
              </a:rPr>
              <a:pPr/>
              <a:t>‹N°›</a:t>
            </a:fld>
            <a:endParaRPr lang="fr-FR" sz="800">
              <a:solidFill>
                <a:schemeClr val="bg1"/>
              </a:solidFill>
            </a:endParaRPr>
          </a:p>
        </p:txBody>
      </p:sp>
      <p:sp>
        <p:nvSpPr>
          <p:cNvPr id="24" name="fc" descr="  ">
            <a:extLst>
              <a:ext uri="{FF2B5EF4-FFF2-40B4-BE49-F238E27FC236}">
                <a16:creationId xmlns:a16="http://schemas.microsoft.com/office/drawing/2014/main" id="{8F174C34-F654-4FB4-B759-68127139EB0D}"/>
              </a:ext>
            </a:extLst>
          </p:cNvPr>
          <p:cNvSpPr txBox="1"/>
          <p:nvPr userDrawn="1"/>
        </p:nvSpPr>
        <p:spPr>
          <a:xfrm>
            <a:off x="0" y="4825047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fr-FR" sz="850" b="0" i="0" u="none" baseline="0">
                <a:solidFill>
                  <a:schemeClr val="bg1"/>
                </a:solidFill>
                <a:latin typeface="Microsoft Sans Serif" panose="020B0604020202020204" pitchFamily="34" charset="0"/>
              </a:rPr>
              <a:t> 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6AAFD2D4-64A8-0312-C447-C814DFB0D2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68859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806329094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BLOC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B9C1BD4-2402-4571-9F04-505A7FE75A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1017588"/>
            <a:ext cx="8569324" cy="3139972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600" b="1">
                <a:solidFill>
                  <a:schemeClr val="accent1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tx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DE2A36-88EC-4A13-9346-E7A65DB242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0607D16-1B92-3382-E419-3AFAAEA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Department / Company / Dat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579404-282D-4B0E-A99F-DB85776D4D8E}"/>
              </a:ext>
            </a:extLst>
          </p:cNvPr>
          <p:cNvSpPr/>
          <p:nvPr userDrawn="1"/>
        </p:nvSpPr>
        <p:spPr>
          <a:xfrm>
            <a:off x="287338" y="4171951"/>
            <a:ext cx="8569324" cy="457200"/>
          </a:xfrm>
          <a:prstGeom prst="rect">
            <a:avLst/>
          </a:prstGeom>
          <a:gradFill flip="none" rotWithShape="1">
            <a:gsLst>
              <a:gs pos="0">
                <a:srgbClr val="FF7900"/>
              </a:gs>
              <a:gs pos="100000">
                <a:srgbClr val="FFB600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A6675F3D-A583-1C52-1FED-53EA7A7003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4396291"/>
            <a:ext cx="8569324" cy="184666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84286" indent="0">
              <a:buNone/>
              <a:defRPr>
                <a:solidFill>
                  <a:srgbClr val="FF0000"/>
                </a:solidFill>
              </a:defRPr>
            </a:lvl2pPr>
            <a:lvl3pPr marL="343152" indent="0">
              <a:buNone/>
              <a:defRPr>
                <a:solidFill>
                  <a:srgbClr val="FF0000"/>
                </a:solidFill>
              </a:defRPr>
            </a:lvl3pPr>
            <a:lvl4pPr marL="1372595" indent="0">
              <a:buNone/>
              <a:defRPr>
                <a:solidFill>
                  <a:srgbClr val="FF0000"/>
                </a:solidFill>
              </a:defRPr>
            </a:lvl4pPr>
            <a:lvl5pPr marL="1830123" indent="0">
              <a:buNone/>
              <a:defRPr>
                <a:solidFill>
                  <a:srgbClr val="FF0000"/>
                </a:solidFill>
              </a:defRPr>
            </a:lvl5pPr>
          </a:lstStyle>
          <a:p>
            <a:pPr lvl="0"/>
            <a:r>
              <a:rPr lang="fr-FR"/>
              <a:t>Lorem ipsum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. </a:t>
            </a:r>
            <a:r>
              <a:rPr lang="fr-FR" err="1"/>
              <a:t>Praesent</a:t>
            </a:r>
            <a:r>
              <a:rPr lang="fr-FR"/>
              <a:t> </a:t>
            </a:r>
            <a:r>
              <a:rPr lang="fr-FR" err="1"/>
              <a:t>hendrerit</a:t>
            </a:r>
            <a:r>
              <a:rPr lang="fr-FR"/>
              <a:t> </a:t>
            </a:r>
            <a:r>
              <a:rPr lang="fr-FR" err="1"/>
              <a:t>lacinia</a:t>
            </a:r>
            <a:r>
              <a:rPr lang="fr-FR"/>
              <a:t> </a:t>
            </a:r>
            <a:r>
              <a:rPr lang="fr-FR" err="1"/>
              <a:t>placerat</a:t>
            </a:r>
            <a:r>
              <a:rPr lang="fr-FR"/>
              <a:t>. </a:t>
            </a:r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9358AD63-E459-F89D-5CFD-8811589D16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4210783"/>
            <a:ext cx="8569324" cy="184666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 marL="184286" indent="0">
              <a:buNone/>
              <a:defRPr>
                <a:solidFill>
                  <a:srgbClr val="FF0000"/>
                </a:solidFill>
              </a:defRPr>
            </a:lvl2pPr>
            <a:lvl3pPr marL="343152" indent="0">
              <a:buNone/>
              <a:defRPr>
                <a:solidFill>
                  <a:srgbClr val="FF0000"/>
                </a:solidFill>
              </a:defRPr>
            </a:lvl3pPr>
            <a:lvl4pPr marL="1372595" indent="0">
              <a:buNone/>
              <a:defRPr>
                <a:solidFill>
                  <a:srgbClr val="FF0000"/>
                </a:solidFill>
              </a:defRPr>
            </a:lvl4pPr>
            <a:lvl5pPr marL="1830123" indent="0">
              <a:buNone/>
              <a:defRPr>
                <a:solidFill>
                  <a:srgbClr val="FF0000"/>
                </a:solidFill>
              </a:defRPr>
            </a:lvl5pPr>
          </a:lstStyle>
          <a:p>
            <a:pPr lvl="0"/>
            <a:r>
              <a:rPr lang="fr-FR"/>
              <a:t>Lorem ipsum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. </a:t>
            </a:r>
            <a:r>
              <a:rPr lang="fr-FR" err="1"/>
              <a:t>Praesent</a:t>
            </a:r>
            <a:r>
              <a:rPr lang="fr-FR"/>
              <a:t> </a:t>
            </a:r>
            <a:r>
              <a:rPr lang="fr-FR" err="1"/>
              <a:t>hendrerit</a:t>
            </a:r>
            <a:r>
              <a:rPr lang="fr-FR"/>
              <a:t> </a:t>
            </a:r>
            <a:r>
              <a:rPr lang="fr-FR" err="1"/>
              <a:t>lacinia</a:t>
            </a:r>
            <a:r>
              <a:rPr lang="fr-FR"/>
              <a:t> </a:t>
            </a:r>
            <a:r>
              <a:rPr lang="fr-FR" err="1"/>
              <a:t>placerat</a:t>
            </a:r>
            <a:r>
              <a:rPr lang="fr-FR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693241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pour une image  11">
            <a:extLst>
              <a:ext uri="{FF2B5EF4-FFF2-40B4-BE49-F238E27FC236}">
                <a16:creationId xmlns:a16="http://schemas.microsoft.com/office/drawing/2014/main" id="{EBB2A290-80EC-4D41-AB7F-4A0708C532A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" y="0"/>
            <a:ext cx="3651142" cy="5145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fr-FR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99D89894-D0E9-4EC0-9E26-DD5A1B2E5E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04655" y="1767832"/>
            <a:ext cx="3359385" cy="1693359"/>
          </a:xfrm>
          <a:prstGeom prst="rect">
            <a:avLst/>
          </a:prstGeom>
        </p:spPr>
        <p:txBody>
          <a:bodyPr l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600" b="1">
                <a:solidFill>
                  <a:schemeClr val="accent2"/>
                </a:solidFill>
                <a:latin typeface="+mj-lt"/>
              </a:defRPr>
            </a:lvl1pPr>
            <a:lvl2pPr marL="184286" indent="0">
              <a:buNone/>
              <a:defRPr>
                <a:latin typeface="+mn-lt"/>
              </a:defRPr>
            </a:lvl2pPr>
            <a:lvl3pPr marL="343152" indent="0">
              <a:buNone/>
              <a:defRPr>
                <a:latin typeface="+mn-lt"/>
              </a:defRPr>
            </a:lvl3pPr>
            <a:lvl4pPr marL="1372595" indent="0">
              <a:buNone/>
              <a:defRPr>
                <a:latin typeface="+mn-lt"/>
              </a:defRPr>
            </a:lvl4pPr>
            <a:lvl5pPr marL="1830123" indent="0">
              <a:buNone/>
              <a:defRPr>
                <a:latin typeface="+mn-lt"/>
              </a:defRPr>
            </a:lvl5pPr>
          </a:lstStyle>
          <a:p>
            <a:pPr lvl="0"/>
            <a:r>
              <a:rPr lang="da-DK"/>
              <a:t>Lorem ipsum</a:t>
            </a:r>
            <a:br>
              <a:rPr lang="da-DK"/>
            </a:br>
            <a:r>
              <a:rPr lang="da-DK"/>
              <a:t>dolor sit amet</a:t>
            </a:r>
            <a:endParaRPr lang="fr-FR"/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D575B653-E75E-4D6F-B409-9D8F0B5143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04655" y="1172722"/>
            <a:ext cx="3359386" cy="511175"/>
          </a:xfrm>
          <a:prstGeom prst="rect">
            <a:avLst/>
          </a:prstGeom>
        </p:spPr>
        <p:txBody>
          <a:bodyPr lIns="0" anchor="b" anchorCtr="0"/>
          <a:lstStyle>
            <a:lvl1pPr marL="0" indent="0" algn="l">
              <a:buNone/>
              <a:defRPr sz="2000">
                <a:solidFill>
                  <a:schemeClr val="accent5"/>
                </a:solidFill>
              </a:defRPr>
            </a:lvl1pPr>
            <a:lvl2pPr marL="184286" indent="0" algn="ctr">
              <a:buNone/>
              <a:defRPr>
                <a:solidFill>
                  <a:schemeClr val="tx1"/>
                </a:solidFill>
              </a:defRPr>
            </a:lvl2pPr>
            <a:lvl3pPr marL="343152" indent="0" algn="ctr">
              <a:buNone/>
              <a:defRPr>
                <a:solidFill>
                  <a:schemeClr val="tx1"/>
                </a:solidFill>
              </a:defRPr>
            </a:lvl3pPr>
            <a:lvl4pPr marL="1372595" indent="0" algn="ctr">
              <a:buNone/>
              <a:defRPr>
                <a:solidFill>
                  <a:schemeClr val="tx1"/>
                </a:solidFill>
              </a:defRPr>
            </a:lvl4pPr>
            <a:lvl5pPr marL="1830123" indent="0" algn="ct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err="1"/>
              <a:t>Chapter</a:t>
            </a:r>
            <a:r>
              <a:rPr lang="fr-FR"/>
              <a:t> 01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45DF7EE-7BCF-4102-B7A8-B8F30BEEB4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037563" y="4837246"/>
            <a:ext cx="817635" cy="173146"/>
          </a:xfrm>
          <a:prstGeom prst="rect">
            <a:avLst/>
          </a:prstGeom>
          <a:noFill/>
        </p:spPr>
      </p:pic>
      <p:grpSp>
        <p:nvGrpSpPr>
          <p:cNvPr id="16" name="Groupe 15">
            <a:extLst>
              <a:ext uri="{FF2B5EF4-FFF2-40B4-BE49-F238E27FC236}">
                <a16:creationId xmlns:a16="http://schemas.microsoft.com/office/drawing/2014/main" id="{5D6F8FA4-48E5-21EC-199A-43C0B70F4374}"/>
              </a:ext>
            </a:extLst>
          </p:cNvPr>
          <p:cNvGrpSpPr/>
          <p:nvPr userDrawn="1"/>
        </p:nvGrpSpPr>
        <p:grpSpPr>
          <a:xfrm>
            <a:off x="4104655" y="3616857"/>
            <a:ext cx="995611" cy="72008"/>
            <a:chOff x="479376" y="980728"/>
            <a:chExt cx="995611" cy="72008"/>
          </a:xfrm>
        </p:grpSpPr>
        <p:cxnSp>
          <p:nvCxnSpPr>
            <p:cNvPr id="17" name="Connecteur droit 16">
              <a:extLst>
                <a:ext uri="{FF2B5EF4-FFF2-40B4-BE49-F238E27FC236}">
                  <a16:creationId xmlns:a16="http://schemas.microsoft.com/office/drawing/2014/main" id="{9D1B0D41-C458-FEE5-0B93-12C4E225C5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2BF881F-F4F9-28B8-D517-60C2B4FC0349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4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13667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8B5E11D-EF93-41A8-A600-0E2A21B23E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62B4ADC-2F3D-9A7B-F4CB-9D3FBC2D15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  <p:sp>
        <p:nvSpPr>
          <p:cNvPr id="6" name="Espace réservé du contenu 3">
            <a:extLst>
              <a:ext uri="{FF2B5EF4-FFF2-40B4-BE49-F238E27FC236}">
                <a16:creationId xmlns:a16="http://schemas.microsoft.com/office/drawing/2014/main" id="{14E6BA19-6303-EEAE-18EC-0686F94CEE2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87338" y="1017589"/>
            <a:ext cx="8569325" cy="360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066038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B9C1BD4-2402-4571-9F04-505A7FE75A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1017588"/>
            <a:ext cx="8569324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buClr>
                <a:srgbClr val="2CC84D"/>
              </a:buClr>
              <a:defRPr sz="1600" b="1">
                <a:solidFill>
                  <a:schemeClr val="accent2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rgbClr val="2CC84D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accent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rgbClr val="2CC84D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accent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DE2A36-88EC-4A13-9346-E7A65DB242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0607D16-1B92-3382-E419-3AFAAEA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20077831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x2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B9C1BD4-2402-4571-9F04-505A7FE75A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7" y="1017588"/>
            <a:ext cx="4219705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buClr>
                <a:srgbClr val="2CC84D"/>
              </a:buClr>
              <a:defRPr sz="1600" b="1">
                <a:solidFill>
                  <a:schemeClr val="accent2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rgbClr val="2CC84D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accent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rgbClr val="2CC84D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accent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2908127-A165-46B7-B40F-9C1A61E43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83B0D2BD-64EB-4133-9A53-E4F4DEB7B0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41953" y="1017588"/>
            <a:ext cx="4214709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buClr>
                <a:srgbClr val="2CC84D"/>
              </a:buClr>
              <a:defRPr sz="1600" b="1">
                <a:solidFill>
                  <a:schemeClr val="accent2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rgbClr val="2CC84D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accent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rgbClr val="2CC84D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accent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269925D1-628C-E93F-77A3-4DE682A3F3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20176325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Righ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2BFB6794-DF54-4F15-843C-009B575836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41953" y="1017588"/>
            <a:ext cx="4214709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buClr>
                <a:srgbClr val="2CC84D"/>
              </a:buClr>
              <a:defRPr sz="1600" b="1">
                <a:solidFill>
                  <a:schemeClr val="accent2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rgbClr val="2CC84D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accent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rgbClr val="2CC84D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accent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938C6CF-C92A-455E-BDA8-BA47D4918DE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7339" y="1017588"/>
            <a:ext cx="4214710" cy="360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21182F8-39DD-402D-9322-090E37AF3E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3B1F21EB-8662-8C41-3C0A-0F605CB04B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21727048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Lef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2BFB6794-DF54-4F15-843C-009B575836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7336" y="1017588"/>
            <a:ext cx="4219707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buClr>
                <a:srgbClr val="2CC84D"/>
              </a:buClr>
              <a:defRPr sz="1600" b="1">
                <a:solidFill>
                  <a:schemeClr val="accent2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rgbClr val="2CC84D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accent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rgbClr val="2CC84D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accent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938C6CF-C92A-455E-BDA8-BA47D4918DE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36960" y="1017588"/>
            <a:ext cx="4219704" cy="360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21182F8-39DD-402D-9322-090E37AF3E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70F129C2-FC0F-5D79-D2F5-A76CFCFB2E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6883756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xLIN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D7926FA-4C37-4337-A48F-C1E3BB67A08D}"/>
              </a:ext>
            </a:extLst>
          </p:cNvPr>
          <p:cNvSpPr/>
          <p:nvPr userDrawn="1"/>
        </p:nvSpPr>
        <p:spPr>
          <a:xfrm>
            <a:off x="140677" y="600222"/>
            <a:ext cx="1350498" cy="2485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81F32DB-A6B7-4BE6-8D7A-C2FD926E1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2784" y="211016"/>
            <a:ext cx="8556653" cy="721402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here </a:t>
            </a:r>
            <a:br>
              <a:rPr lang="en-US"/>
            </a:br>
            <a:r>
              <a:rPr lang="en-US"/>
              <a:t>to add a title </a:t>
            </a:r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9525850-0777-A6EE-F419-D78308D930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DED92A21-7615-5B0C-FC17-42FF930E925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87338" y="1309965"/>
            <a:ext cx="8569325" cy="33144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fr-FR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178FCA4F-E18D-9D7D-E0DF-968E3B4AEBFE}"/>
              </a:ext>
            </a:extLst>
          </p:cNvPr>
          <p:cNvGrpSpPr/>
          <p:nvPr userDrawn="1"/>
        </p:nvGrpSpPr>
        <p:grpSpPr>
          <a:xfrm>
            <a:off x="295226" y="994644"/>
            <a:ext cx="995611" cy="72008"/>
            <a:chOff x="479376" y="980728"/>
            <a:chExt cx="995611" cy="72008"/>
          </a:xfrm>
        </p:grpSpPr>
        <p:cxnSp>
          <p:nvCxnSpPr>
            <p:cNvPr id="14" name="Connecteur droit 13">
              <a:extLst>
                <a:ext uri="{FF2B5EF4-FFF2-40B4-BE49-F238E27FC236}">
                  <a16:creationId xmlns:a16="http://schemas.microsoft.com/office/drawing/2014/main" id="{E2017E76-C275-4BBF-5E59-505AEEA5B96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rgbClr val="00491E"/>
              </a:solidFill>
              <a:prstDash val="solid"/>
              <a:miter lim="800000"/>
            </a:ln>
            <a:effectLst/>
          </p:spPr>
        </p:cxn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2CA7DEA-163D-1246-8A27-AB85BABA120F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rgbClr val="2CC84D"/>
                </a:gs>
                <a:gs pos="100000">
                  <a:srgbClr val="00491E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30848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BLOC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B9C1BD4-2402-4571-9F04-505A7FE75A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1017588"/>
            <a:ext cx="8569324" cy="3139972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600" b="1">
                <a:solidFill>
                  <a:schemeClr val="accent1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tx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DE2A36-88EC-4A13-9346-E7A65DB242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0607D16-1B92-3382-E419-3AFAAEA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Department / Company / Dat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579404-282D-4B0E-A99F-DB85776D4D8E}"/>
              </a:ext>
            </a:extLst>
          </p:cNvPr>
          <p:cNvSpPr/>
          <p:nvPr userDrawn="1"/>
        </p:nvSpPr>
        <p:spPr>
          <a:xfrm>
            <a:off x="287338" y="4171951"/>
            <a:ext cx="8569324" cy="457200"/>
          </a:xfrm>
          <a:prstGeom prst="rect">
            <a:avLst/>
          </a:prstGeom>
          <a:gradFill flip="none" rotWithShape="1">
            <a:gsLst>
              <a:gs pos="0">
                <a:srgbClr val="024F20"/>
              </a:gs>
              <a:gs pos="100000">
                <a:srgbClr val="2CC84D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A6675F3D-A583-1C52-1FED-53EA7A7003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4396291"/>
            <a:ext cx="8569324" cy="184666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84286" indent="0">
              <a:buNone/>
              <a:defRPr>
                <a:solidFill>
                  <a:srgbClr val="FF0000"/>
                </a:solidFill>
              </a:defRPr>
            </a:lvl2pPr>
            <a:lvl3pPr marL="343152" indent="0">
              <a:buNone/>
              <a:defRPr>
                <a:solidFill>
                  <a:srgbClr val="FF0000"/>
                </a:solidFill>
              </a:defRPr>
            </a:lvl3pPr>
            <a:lvl4pPr marL="1372595" indent="0">
              <a:buNone/>
              <a:defRPr>
                <a:solidFill>
                  <a:srgbClr val="FF0000"/>
                </a:solidFill>
              </a:defRPr>
            </a:lvl4pPr>
            <a:lvl5pPr marL="1830123" indent="0">
              <a:buNone/>
              <a:defRPr>
                <a:solidFill>
                  <a:srgbClr val="FF0000"/>
                </a:solidFill>
              </a:defRPr>
            </a:lvl5pPr>
          </a:lstStyle>
          <a:p>
            <a:pPr lvl="0"/>
            <a:r>
              <a:rPr lang="fr-FR"/>
              <a:t>Lorem ipsum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. </a:t>
            </a:r>
            <a:r>
              <a:rPr lang="fr-FR" err="1"/>
              <a:t>Praesent</a:t>
            </a:r>
            <a:r>
              <a:rPr lang="fr-FR"/>
              <a:t> </a:t>
            </a:r>
            <a:r>
              <a:rPr lang="fr-FR" err="1"/>
              <a:t>hendrerit</a:t>
            </a:r>
            <a:r>
              <a:rPr lang="fr-FR"/>
              <a:t> </a:t>
            </a:r>
            <a:r>
              <a:rPr lang="fr-FR" err="1"/>
              <a:t>lacinia</a:t>
            </a:r>
            <a:r>
              <a:rPr lang="fr-FR"/>
              <a:t> </a:t>
            </a:r>
            <a:r>
              <a:rPr lang="fr-FR" err="1"/>
              <a:t>placerat</a:t>
            </a:r>
            <a:r>
              <a:rPr lang="fr-FR"/>
              <a:t>. </a:t>
            </a:r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9358AD63-E459-F89D-5CFD-8811589D16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4210783"/>
            <a:ext cx="8569324" cy="184666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 marL="184286" indent="0">
              <a:buNone/>
              <a:defRPr>
                <a:solidFill>
                  <a:srgbClr val="FF0000"/>
                </a:solidFill>
              </a:defRPr>
            </a:lvl2pPr>
            <a:lvl3pPr marL="343152" indent="0">
              <a:buNone/>
              <a:defRPr>
                <a:solidFill>
                  <a:srgbClr val="FF0000"/>
                </a:solidFill>
              </a:defRPr>
            </a:lvl3pPr>
            <a:lvl4pPr marL="1372595" indent="0">
              <a:buNone/>
              <a:defRPr>
                <a:solidFill>
                  <a:srgbClr val="FF0000"/>
                </a:solidFill>
              </a:defRPr>
            </a:lvl4pPr>
            <a:lvl5pPr marL="1830123" indent="0">
              <a:buNone/>
              <a:defRPr>
                <a:solidFill>
                  <a:srgbClr val="FF0000"/>
                </a:solidFill>
              </a:defRPr>
            </a:lvl5pPr>
          </a:lstStyle>
          <a:p>
            <a:pPr lvl="0"/>
            <a:r>
              <a:rPr lang="fr-FR"/>
              <a:t>Lorem ipsum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. </a:t>
            </a:r>
            <a:r>
              <a:rPr lang="fr-FR" err="1"/>
              <a:t>Praesent</a:t>
            </a:r>
            <a:r>
              <a:rPr lang="fr-FR"/>
              <a:t> </a:t>
            </a:r>
            <a:r>
              <a:rPr lang="fr-FR" err="1"/>
              <a:t>hendrerit</a:t>
            </a:r>
            <a:r>
              <a:rPr lang="fr-FR"/>
              <a:t> </a:t>
            </a:r>
            <a:r>
              <a:rPr lang="fr-FR" err="1"/>
              <a:t>lacinia</a:t>
            </a:r>
            <a:r>
              <a:rPr lang="fr-FR"/>
              <a:t> </a:t>
            </a:r>
            <a:r>
              <a:rPr lang="fr-FR" err="1"/>
              <a:t>placerat</a:t>
            </a:r>
            <a:r>
              <a:rPr lang="fr-FR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2492418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pour une image  11">
            <a:extLst>
              <a:ext uri="{FF2B5EF4-FFF2-40B4-BE49-F238E27FC236}">
                <a16:creationId xmlns:a16="http://schemas.microsoft.com/office/drawing/2014/main" id="{EBB2A290-80EC-4D41-AB7F-4A0708C532A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" y="0"/>
            <a:ext cx="3651142" cy="5145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fr-FR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99D89894-D0E9-4EC0-9E26-DD5A1B2E5E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04655" y="1767832"/>
            <a:ext cx="3359385" cy="1693359"/>
          </a:xfrm>
          <a:prstGeom prst="rect">
            <a:avLst/>
          </a:prstGeom>
        </p:spPr>
        <p:txBody>
          <a:bodyPr l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600" b="1">
                <a:solidFill>
                  <a:schemeClr val="accent2"/>
                </a:solidFill>
                <a:latin typeface="+mj-lt"/>
              </a:defRPr>
            </a:lvl1pPr>
            <a:lvl2pPr marL="184286" indent="0">
              <a:buNone/>
              <a:defRPr>
                <a:latin typeface="+mn-lt"/>
              </a:defRPr>
            </a:lvl2pPr>
            <a:lvl3pPr marL="343152" indent="0">
              <a:buNone/>
              <a:defRPr>
                <a:latin typeface="+mn-lt"/>
              </a:defRPr>
            </a:lvl3pPr>
            <a:lvl4pPr marL="1372595" indent="0">
              <a:buNone/>
              <a:defRPr>
                <a:latin typeface="+mn-lt"/>
              </a:defRPr>
            </a:lvl4pPr>
            <a:lvl5pPr marL="1830123" indent="0">
              <a:buNone/>
              <a:defRPr>
                <a:latin typeface="+mn-lt"/>
              </a:defRPr>
            </a:lvl5pPr>
          </a:lstStyle>
          <a:p>
            <a:pPr lvl="0"/>
            <a:r>
              <a:rPr lang="da-DK"/>
              <a:t>Lorem ipsum</a:t>
            </a:r>
            <a:br>
              <a:rPr lang="da-DK"/>
            </a:br>
            <a:r>
              <a:rPr lang="da-DK"/>
              <a:t>dolor sit amet</a:t>
            </a:r>
            <a:endParaRPr lang="fr-FR"/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D575B653-E75E-4D6F-B409-9D8F0B5143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04655" y="1172722"/>
            <a:ext cx="3359386" cy="511175"/>
          </a:xfrm>
          <a:prstGeom prst="rect">
            <a:avLst/>
          </a:prstGeom>
        </p:spPr>
        <p:txBody>
          <a:bodyPr lIns="0" anchor="b" anchorCtr="0"/>
          <a:lstStyle>
            <a:lvl1pPr marL="0" indent="0" algn="l">
              <a:buNone/>
              <a:defRPr sz="2000">
                <a:solidFill>
                  <a:schemeClr val="accent5"/>
                </a:solidFill>
              </a:defRPr>
            </a:lvl1pPr>
            <a:lvl2pPr marL="184286" indent="0" algn="ctr">
              <a:buNone/>
              <a:defRPr>
                <a:solidFill>
                  <a:schemeClr val="tx1"/>
                </a:solidFill>
              </a:defRPr>
            </a:lvl2pPr>
            <a:lvl3pPr marL="343152" indent="0" algn="ctr">
              <a:buNone/>
              <a:defRPr>
                <a:solidFill>
                  <a:schemeClr val="tx1"/>
                </a:solidFill>
              </a:defRPr>
            </a:lvl3pPr>
            <a:lvl4pPr marL="1372595" indent="0" algn="ctr">
              <a:buNone/>
              <a:defRPr>
                <a:solidFill>
                  <a:schemeClr val="tx1"/>
                </a:solidFill>
              </a:defRPr>
            </a:lvl4pPr>
            <a:lvl5pPr marL="1830123" indent="0" algn="ct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err="1"/>
              <a:t>Chapter</a:t>
            </a:r>
            <a:r>
              <a:rPr lang="fr-FR"/>
              <a:t> 01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45DF7EE-7BCF-4102-B7A8-B8F30BEEB4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037563" y="4837246"/>
            <a:ext cx="817635" cy="173146"/>
          </a:xfrm>
          <a:prstGeom prst="rect">
            <a:avLst/>
          </a:prstGeom>
          <a:noFill/>
        </p:spPr>
      </p:pic>
      <p:grpSp>
        <p:nvGrpSpPr>
          <p:cNvPr id="16" name="Groupe 15">
            <a:extLst>
              <a:ext uri="{FF2B5EF4-FFF2-40B4-BE49-F238E27FC236}">
                <a16:creationId xmlns:a16="http://schemas.microsoft.com/office/drawing/2014/main" id="{5D6F8FA4-48E5-21EC-199A-43C0B70F4374}"/>
              </a:ext>
            </a:extLst>
          </p:cNvPr>
          <p:cNvGrpSpPr/>
          <p:nvPr userDrawn="1"/>
        </p:nvGrpSpPr>
        <p:grpSpPr>
          <a:xfrm>
            <a:off x="4104655" y="3616857"/>
            <a:ext cx="995611" cy="72008"/>
            <a:chOff x="479376" y="980728"/>
            <a:chExt cx="995611" cy="72008"/>
          </a:xfrm>
        </p:grpSpPr>
        <p:cxnSp>
          <p:nvCxnSpPr>
            <p:cNvPr id="17" name="Connecteur droit 16">
              <a:extLst>
                <a:ext uri="{FF2B5EF4-FFF2-40B4-BE49-F238E27FC236}">
                  <a16:creationId xmlns:a16="http://schemas.microsoft.com/office/drawing/2014/main" id="{9D1B0D41-C458-FEE5-0B93-12C4E225C5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2BF881F-F4F9-28B8-D517-60C2B4FC0349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4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6603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pour une image  11">
            <a:extLst>
              <a:ext uri="{FF2B5EF4-FFF2-40B4-BE49-F238E27FC236}">
                <a16:creationId xmlns:a16="http://schemas.microsoft.com/office/drawing/2014/main" id="{EBB2A290-80EC-4D41-AB7F-4A0708C532A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" y="0"/>
            <a:ext cx="3651142" cy="5145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fr-FR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99D89894-D0E9-4EC0-9E26-DD5A1B2E5E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04655" y="1767832"/>
            <a:ext cx="3359385" cy="1693359"/>
          </a:xfrm>
          <a:prstGeom prst="rect">
            <a:avLst/>
          </a:prstGeom>
        </p:spPr>
        <p:txBody>
          <a:bodyPr l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600" b="1">
                <a:solidFill>
                  <a:schemeClr val="accent4"/>
                </a:solidFill>
                <a:latin typeface="+mj-lt"/>
              </a:defRPr>
            </a:lvl1pPr>
            <a:lvl2pPr marL="184286" indent="0">
              <a:buNone/>
              <a:defRPr>
                <a:latin typeface="+mn-lt"/>
              </a:defRPr>
            </a:lvl2pPr>
            <a:lvl3pPr marL="343152" indent="0">
              <a:buNone/>
              <a:defRPr>
                <a:latin typeface="+mn-lt"/>
              </a:defRPr>
            </a:lvl3pPr>
            <a:lvl4pPr marL="1372595" indent="0">
              <a:buNone/>
              <a:defRPr>
                <a:latin typeface="+mn-lt"/>
              </a:defRPr>
            </a:lvl4pPr>
            <a:lvl5pPr marL="1830123" indent="0">
              <a:buNone/>
              <a:defRPr>
                <a:latin typeface="+mn-lt"/>
              </a:defRPr>
            </a:lvl5pPr>
          </a:lstStyle>
          <a:p>
            <a:pPr lvl="0"/>
            <a:r>
              <a:rPr lang="da-DK"/>
              <a:t>Lorem ipsum</a:t>
            </a:r>
            <a:br>
              <a:rPr lang="da-DK"/>
            </a:br>
            <a:r>
              <a:rPr lang="da-DK"/>
              <a:t>dolor sit amet</a:t>
            </a:r>
            <a:endParaRPr lang="fr-FR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74B52402-2172-43E2-85AB-A27808DD5AA2}"/>
              </a:ext>
            </a:extLst>
          </p:cNvPr>
          <p:cNvGrpSpPr/>
          <p:nvPr userDrawn="1"/>
        </p:nvGrpSpPr>
        <p:grpSpPr>
          <a:xfrm>
            <a:off x="4104655" y="3616857"/>
            <a:ext cx="995611" cy="72008"/>
            <a:chOff x="479376" y="980728"/>
            <a:chExt cx="995611" cy="72008"/>
          </a:xfrm>
        </p:grpSpPr>
        <p:cxnSp>
          <p:nvCxnSpPr>
            <p:cNvPr id="10" name="Connecteur droit 9">
              <a:extLst>
                <a:ext uri="{FF2B5EF4-FFF2-40B4-BE49-F238E27FC236}">
                  <a16:creationId xmlns:a16="http://schemas.microsoft.com/office/drawing/2014/main" id="{E5F475E0-73FC-4EF3-B38B-1BC72D4B02D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</p:cxn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E0C7703-EEE6-4894-8E05-3C55D8780320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D575B653-E75E-4D6F-B409-9D8F0B5143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04655" y="1172722"/>
            <a:ext cx="3359386" cy="511175"/>
          </a:xfrm>
          <a:prstGeom prst="rect">
            <a:avLst/>
          </a:prstGeom>
        </p:spPr>
        <p:txBody>
          <a:bodyPr lIns="0" anchor="b" anchorCtr="0"/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184286" indent="0" algn="ctr">
              <a:buNone/>
              <a:defRPr>
                <a:solidFill>
                  <a:schemeClr val="tx1"/>
                </a:solidFill>
              </a:defRPr>
            </a:lvl2pPr>
            <a:lvl3pPr marL="343152" indent="0" algn="ctr">
              <a:buNone/>
              <a:defRPr>
                <a:solidFill>
                  <a:schemeClr val="tx1"/>
                </a:solidFill>
              </a:defRPr>
            </a:lvl3pPr>
            <a:lvl4pPr marL="1372595" indent="0" algn="ctr">
              <a:buNone/>
              <a:defRPr>
                <a:solidFill>
                  <a:schemeClr val="tx1"/>
                </a:solidFill>
              </a:defRPr>
            </a:lvl4pPr>
            <a:lvl5pPr marL="1830123" indent="0" algn="ct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err="1"/>
              <a:t>Chapter</a:t>
            </a:r>
            <a:r>
              <a:rPr lang="fr-FR"/>
              <a:t> 01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45DF7EE-7BCF-4102-B7A8-B8F30BEEB4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037563" y="4837246"/>
            <a:ext cx="817635" cy="17314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107078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8B5E11D-EF93-41A8-A600-0E2A21B23E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62B4ADC-2F3D-9A7B-F4CB-9D3FBC2D15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  <p:sp>
        <p:nvSpPr>
          <p:cNvPr id="6" name="Espace réservé du contenu 3">
            <a:extLst>
              <a:ext uri="{FF2B5EF4-FFF2-40B4-BE49-F238E27FC236}">
                <a16:creationId xmlns:a16="http://schemas.microsoft.com/office/drawing/2014/main" id="{14E6BA19-6303-EEAE-18EC-0686F94CEE2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87338" y="1017589"/>
            <a:ext cx="8569325" cy="360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398186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B9C1BD4-2402-4571-9F04-505A7FE75A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1017588"/>
            <a:ext cx="8569324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buClr>
                <a:srgbClr val="15D0CB"/>
              </a:buClr>
              <a:defRPr sz="1600" b="1">
                <a:solidFill>
                  <a:schemeClr val="accent2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rgbClr val="15D0CB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accent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rgbClr val="15D0CB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accent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DE2A36-88EC-4A13-9346-E7A65DB242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0607D16-1B92-3382-E419-3AFAAEA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9387060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x2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B9C1BD4-2402-4571-9F04-505A7FE75A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7" y="1017588"/>
            <a:ext cx="4219705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buClr>
                <a:srgbClr val="15D0CB"/>
              </a:buClr>
              <a:defRPr sz="1600" b="1">
                <a:solidFill>
                  <a:schemeClr val="accent2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rgbClr val="15D0CB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accent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rgbClr val="15D0CB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accent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2908127-A165-46B7-B40F-9C1A61E43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83B0D2BD-64EB-4133-9A53-E4F4DEB7B0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41953" y="1017588"/>
            <a:ext cx="4214709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buClr>
                <a:srgbClr val="15D0CB"/>
              </a:buClr>
              <a:defRPr sz="1600" b="1">
                <a:solidFill>
                  <a:schemeClr val="accent2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rgbClr val="15D0CB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accent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rgbClr val="15D0CB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accent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269925D1-628C-E93F-77A3-4DE682A3F3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498437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Righ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2BFB6794-DF54-4F15-843C-009B575836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41953" y="1017588"/>
            <a:ext cx="4214709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buClr>
                <a:srgbClr val="15D0CB"/>
              </a:buClr>
              <a:defRPr sz="1600" b="1">
                <a:solidFill>
                  <a:schemeClr val="accent2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rgbClr val="15D0CB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accent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rgbClr val="15D0CB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accent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938C6CF-C92A-455E-BDA8-BA47D4918DE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7339" y="1017588"/>
            <a:ext cx="4214710" cy="360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21182F8-39DD-402D-9322-090E37AF3E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3B1F21EB-8662-8C41-3C0A-0F605CB04B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28445992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Lef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2BFB6794-DF54-4F15-843C-009B575836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7336" y="1017588"/>
            <a:ext cx="4219707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buClr>
                <a:srgbClr val="15D0CB"/>
              </a:buClr>
              <a:defRPr sz="1600" b="1">
                <a:solidFill>
                  <a:schemeClr val="accent2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rgbClr val="15D0CB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accent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rgbClr val="15D0CB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accent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938C6CF-C92A-455E-BDA8-BA47D4918DE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36960" y="1017588"/>
            <a:ext cx="4219704" cy="360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21182F8-39DD-402D-9322-090E37AF3E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70F129C2-FC0F-5D79-D2F5-A76CFCFB2E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12715134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xLIN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D7926FA-4C37-4337-A48F-C1E3BB67A08D}"/>
              </a:ext>
            </a:extLst>
          </p:cNvPr>
          <p:cNvSpPr/>
          <p:nvPr userDrawn="1"/>
        </p:nvSpPr>
        <p:spPr>
          <a:xfrm>
            <a:off x="140677" y="600222"/>
            <a:ext cx="1350498" cy="2485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81F32DB-A6B7-4BE6-8D7A-C2FD926E1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2784" y="211016"/>
            <a:ext cx="8556653" cy="721402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here </a:t>
            </a:r>
            <a:br>
              <a:rPr lang="en-US"/>
            </a:br>
            <a:r>
              <a:rPr lang="en-US"/>
              <a:t>to add a title </a:t>
            </a:r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9525850-0777-A6EE-F419-D78308D930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DED92A21-7615-5B0C-FC17-42FF930E925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87338" y="1309965"/>
            <a:ext cx="8569325" cy="33144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fr-FR"/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37E3E81C-2F5A-9B19-E3EB-40F85F729389}"/>
              </a:ext>
            </a:extLst>
          </p:cNvPr>
          <p:cNvGrpSpPr/>
          <p:nvPr userDrawn="1"/>
        </p:nvGrpSpPr>
        <p:grpSpPr>
          <a:xfrm>
            <a:off x="295226" y="994644"/>
            <a:ext cx="995611" cy="72008"/>
            <a:chOff x="479376" y="980728"/>
            <a:chExt cx="995611" cy="72008"/>
          </a:xfrm>
        </p:grpSpPr>
        <p:cxnSp>
          <p:nvCxnSpPr>
            <p:cNvPr id="17" name="Connecteur droit 16">
              <a:extLst>
                <a:ext uri="{FF2B5EF4-FFF2-40B4-BE49-F238E27FC236}">
                  <a16:creationId xmlns:a16="http://schemas.microsoft.com/office/drawing/2014/main" id="{F2D53C22-5E3C-A1C2-980A-66FF9BB65F1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rgbClr val="2C4E5A"/>
              </a:solidFill>
              <a:prstDash val="solid"/>
              <a:miter lim="800000"/>
            </a:ln>
            <a:effectLst/>
          </p:spPr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D83C17A-2D33-FC75-558C-B5E6B12D8907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rgbClr val="15D0CB"/>
                </a:gs>
                <a:gs pos="100000">
                  <a:srgbClr val="2C4E5A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30762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BLOC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B9C1BD4-2402-4571-9F04-505A7FE75A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1017588"/>
            <a:ext cx="8569324" cy="3139972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600" b="1">
                <a:solidFill>
                  <a:schemeClr val="accent1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tx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DE2A36-88EC-4A13-9346-E7A65DB242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0607D16-1B92-3382-E419-3AFAAEA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Department / Company / Dat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579404-282D-4B0E-A99F-DB85776D4D8E}"/>
              </a:ext>
            </a:extLst>
          </p:cNvPr>
          <p:cNvSpPr/>
          <p:nvPr userDrawn="1"/>
        </p:nvSpPr>
        <p:spPr>
          <a:xfrm>
            <a:off x="287338" y="4171951"/>
            <a:ext cx="8569324" cy="457200"/>
          </a:xfrm>
          <a:prstGeom prst="rect">
            <a:avLst/>
          </a:prstGeom>
          <a:gradFill flip="none" rotWithShape="1">
            <a:gsLst>
              <a:gs pos="0">
                <a:srgbClr val="2C525D"/>
              </a:gs>
              <a:gs pos="100000">
                <a:srgbClr val="17D0CB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A6675F3D-A583-1C52-1FED-53EA7A7003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4396291"/>
            <a:ext cx="8569324" cy="184666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84286" indent="0">
              <a:buNone/>
              <a:defRPr>
                <a:solidFill>
                  <a:srgbClr val="FF0000"/>
                </a:solidFill>
              </a:defRPr>
            </a:lvl2pPr>
            <a:lvl3pPr marL="343152" indent="0">
              <a:buNone/>
              <a:defRPr>
                <a:solidFill>
                  <a:srgbClr val="FF0000"/>
                </a:solidFill>
              </a:defRPr>
            </a:lvl3pPr>
            <a:lvl4pPr marL="1372595" indent="0">
              <a:buNone/>
              <a:defRPr>
                <a:solidFill>
                  <a:srgbClr val="FF0000"/>
                </a:solidFill>
              </a:defRPr>
            </a:lvl4pPr>
            <a:lvl5pPr marL="1830123" indent="0">
              <a:buNone/>
              <a:defRPr>
                <a:solidFill>
                  <a:srgbClr val="FF0000"/>
                </a:solidFill>
              </a:defRPr>
            </a:lvl5pPr>
          </a:lstStyle>
          <a:p>
            <a:pPr lvl="0"/>
            <a:r>
              <a:rPr lang="fr-FR"/>
              <a:t>Lorem ipsum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. </a:t>
            </a:r>
            <a:r>
              <a:rPr lang="fr-FR" err="1"/>
              <a:t>Praesent</a:t>
            </a:r>
            <a:r>
              <a:rPr lang="fr-FR"/>
              <a:t> </a:t>
            </a:r>
            <a:r>
              <a:rPr lang="fr-FR" err="1"/>
              <a:t>hendrerit</a:t>
            </a:r>
            <a:r>
              <a:rPr lang="fr-FR"/>
              <a:t> </a:t>
            </a:r>
            <a:r>
              <a:rPr lang="fr-FR" err="1"/>
              <a:t>lacinia</a:t>
            </a:r>
            <a:r>
              <a:rPr lang="fr-FR"/>
              <a:t> </a:t>
            </a:r>
            <a:r>
              <a:rPr lang="fr-FR" err="1"/>
              <a:t>placerat</a:t>
            </a:r>
            <a:r>
              <a:rPr lang="fr-FR"/>
              <a:t>. </a:t>
            </a:r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9358AD63-E459-F89D-5CFD-8811589D16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4210783"/>
            <a:ext cx="8569324" cy="184666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 marL="184286" indent="0">
              <a:buNone/>
              <a:defRPr>
                <a:solidFill>
                  <a:srgbClr val="FF0000"/>
                </a:solidFill>
              </a:defRPr>
            </a:lvl2pPr>
            <a:lvl3pPr marL="343152" indent="0">
              <a:buNone/>
              <a:defRPr>
                <a:solidFill>
                  <a:srgbClr val="FF0000"/>
                </a:solidFill>
              </a:defRPr>
            </a:lvl3pPr>
            <a:lvl4pPr marL="1372595" indent="0">
              <a:buNone/>
              <a:defRPr>
                <a:solidFill>
                  <a:srgbClr val="FF0000"/>
                </a:solidFill>
              </a:defRPr>
            </a:lvl4pPr>
            <a:lvl5pPr marL="1830123" indent="0">
              <a:buNone/>
              <a:defRPr>
                <a:solidFill>
                  <a:srgbClr val="FF0000"/>
                </a:solidFill>
              </a:defRPr>
            </a:lvl5pPr>
          </a:lstStyle>
          <a:p>
            <a:pPr lvl="0"/>
            <a:r>
              <a:rPr lang="fr-FR"/>
              <a:t>Lorem ipsum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. </a:t>
            </a:r>
            <a:r>
              <a:rPr lang="fr-FR" err="1"/>
              <a:t>Praesent</a:t>
            </a:r>
            <a:r>
              <a:rPr lang="fr-FR"/>
              <a:t> </a:t>
            </a:r>
            <a:r>
              <a:rPr lang="fr-FR" err="1"/>
              <a:t>hendrerit</a:t>
            </a:r>
            <a:r>
              <a:rPr lang="fr-FR"/>
              <a:t> </a:t>
            </a:r>
            <a:r>
              <a:rPr lang="fr-FR" err="1"/>
              <a:t>lacinia</a:t>
            </a:r>
            <a:r>
              <a:rPr lang="fr-FR"/>
              <a:t> </a:t>
            </a:r>
            <a:r>
              <a:rPr lang="fr-FR" err="1"/>
              <a:t>placerat</a:t>
            </a:r>
            <a:r>
              <a:rPr lang="fr-FR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671497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Def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4031940" y="2933066"/>
            <a:ext cx="4067238" cy="16932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100">
                <a:solidFill>
                  <a:schemeClr val="accent2"/>
                </a:solidFill>
              </a:defRPr>
            </a:lvl1pPr>
          </a:lstStyle>
          <a:p>
            <a:r>
              <a:rPr lang="fr-FR" b="1"/>
              <a:t>Jour/mois/année</a:t>
            </a:r>
            <a:endParaRPr lang="fr-FR"/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672000" y="4321334"/>
            <a:ext cx="1800000" cy="720222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 bwMode="gray">
          <a:xfrm>
            <a:off x="287339" y="4961333"/>
            <a:ext cx="8569325" cy="183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3599893" y="402418"/>
            <a:ext cx="4068763" cy="2214420"/>
          </a:xfrm>
        </p:spPr>
        <p:txBody>
          <a:bodyPr anchor="b" anchorCtr="0"/>
          <a:lstStyle>
            <a:lvl1pPr algn="l">
              <a:defRPr sz="1850" cap="all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Nom du projet</a:t>
            </a:r>
            <a:br>
              <a:rPr lang="fr-FR"/>
            </a:br>
            <a:r>
              <a:rPr lang="fr-FR"/>
              <a:t>Jalon de lancement </a:t>
            </a:r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" y="4913241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US"/>
              <a:t>Safran Aircraft Engines / 08.02.2023 / YXFF</a:t>
            </a:r>
            <a:endParaRPr lang="fr-FR"/>
          </a:p>
        </p:txBody>
      </p:sp>
      <p:sp>
        <p:nvSpPr>
          <p:cNvPr id="1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" y="4913242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 b="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52000" y="252078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8" name="Espace réservé du texte 13"/>
          <p:cNvSpPr>
            <a:spLocks noGrp="1"/>
          </p:cNvSpPr>
          <p:nvPr>
            <p:ph type="body" sz="quarter" idx="16" hasCustomPrompt="1"/>
          </p:nvPr>
        </p:nvSpPr>
        <p:spPr bwMode="gray">
          <a:xfrm rot="10800000">
            <a:off x="252000" y="4116069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 rot="5400000">
            <a:off x="689879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5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 rot="16200000">
            <a:off x="-168000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cxnSp>
        <p:nvCxnSpPr>
          <p:cNvPr id="42" name="Connecteur droit 41"/>
          <p:cNvCxnSpPr/>
          <p:nvPr userDrawn="1"/>
        </p:nvCxnSpPr>
        <p:spPr bwMode="gray">
          <a:xfrm>
            <a:off x="4572000" y="2752620"/>
            <a:ext cx="216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466417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_image_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899592" cy="879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5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50826" y="250901"/>
            <a:ext cx="4321175" cy="4158948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fr-FR"/>
              <a:t>Jour/mois/année</a:t>
            </a:r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l"/>
            <a:r>
              <a:rPr lang="en-US"/>
              <a:t>Safran Aircraft Engines / 08.02.2023 / YXFF</a:t>
            </a:r>
            <a:endParaRPr lang="fr-FR"/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8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023302" y="1635630"/>
            <a:ext cx="3852862" cy="2485205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14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9" name="Espace réservé du texte 13"/>
          <p:cNvSpPr>
            <a:spLocks noGrp="1"/>
          </p:cNvSpPr>
          <p:nvPr>
            <p:ph type="body" sz="quarter" idx="23" hasCustomPrompt="1"/>
          </p:nvPr>
        </p:nvSpPr>
        <p:spPr bwMode="gray">
          <a:xfrm rot="16200000">
            <a:off x="2640117" y="2688239"/>
            <a:ext cx="3132967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176000" y="1152356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1" name="Espace réservé du texte 13"/>
          <p:cNvSpPr>
            <a:spLocks noGrp="1"/>
          </p:cNvSpPr>
          <p:nvPr>
            <p:ph type="body" sz="quarter" idx="25" hasCustomPrompt="1"/>
          </p:nvPr>
        </p:nvSpPr>
        <p:spPr bwMode="gray">
          <a:xfrm rot="10800000">
            <a:off x="4176000" y="4224104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6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850432" y="250901"/>
            <a:ext cx="585664" cy="1195569"/>
          </a:xfrm>
          <a:solidFill>
            <a:schemeClr val="bg1"/>
          </a:solidFill>
        </p:spPr>
        <p:txBody>
          <a:bodyPr wrap="none" lIns="36000" tIns="36000" rIns="36000" bIns="36000" anchor="b" anchorCtr="0">
            <a:spAutoFit/>
          </a:bodyPr>
          <a:lstStyle>
            <a:lvl1pPr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fr-FR" noProof="0"/>
              <a:t>0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4023" y="267576"/>
            <a:ext cx="982800" cy="306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9721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_image_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0" y="0"/>
            <a:ext cx="899592" cy="879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5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572001" y="250901"/>
            <a:ext cx="4321175" cy="4158948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fr-FR"/>
              <a:t>Jour/mois/année</a:t>
            </a:r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l"/>
            <a:r>
              <a:rPr lang="en-US"/>
              <a:t>Safran Aircraft Engines / 08.02.2023 / YXFF</a:t>
            </a:r>
            <a:endParaRPr lang="fr-FR"/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6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99062" y="1631139"/>
            <a:ext cx="3852862" cy="2485205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14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23" hasCustomPrompt="1"/>
          </p:nvPr>
        </p:nvSpPr>
        <p:spPr bwMode="gray">
          <a:xfrm rot="5400000">
            <a:off x="3370917" y="2688239"/>
            <a:ext cx="3132967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8" name="Espace réservé du texte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0" y="1152356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3"/>
          <p:cNvSpPr>
            <a:spLocks noGrp="1"/>
          </p:cNvSpPr>
          <p:nvPr>
            <p:ph type="body" sz="quarter" idx="25" hasCustomPrompt="1"/>
          </p:nvPr>
        </p:nvSpPr>
        <p:spPr bwMode="gray">
          <a:xfrm rot="10800000">
            <a:off x="0" y="4224103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6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28000" y="250901"/>
            <a:ext cx="585664" cy="1195569"/>
          </a:xfrm>
          <a:solidFill>
            <a:schemeClr val="bg1"/>
          </a:solidFill>
        </p:spPr>
        <p:txBody>
          <a:bodyPr wrap="none" lIns="36000" tIns="36000" rIns="36000" bIns="36000" anchor="b" anchorCtr="0">
            <a:spAutoFit/>
          </a:bodyPr>
          <a:lstStyle>
            <a:lvl1pPr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fr-FR" noProof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37090452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12">
            <a:extLst>
              <a:ext uri="{FF2B5EF4-FFF2-40B4-BE49-F238E27FC236}">
                <a16:creationId xmlns:a16="http://schemas.microsoft.com/office/drawing/2014/main" id="{7EBF2E1D-D492-4B49-A512-C63AC80F85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15439" y="1435875"/>
            <a:ext cx="330381" cy="19768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5067" rtl="0" eaLnBrk="1" latinLnBrk="0" hangingPunct="1">
              <a:lnSpc>
                <a:spcPct val="7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None/>
              <a:defRPr lang="en-GB" sz="1800" b="0" i="0" kern="1200" baseline="0" noProof="0" dirty="0">
                <a:gradFill>
                  <a:gsLst>
                    <a:gs pos="0">
                      <a:schemeClr val="accent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GB" noProof="0"/>
              <a:t>|</a:t>
            </a:r>
          </a:p>
        </p:txBody>
      </p:sp>
      <p:sp>
        <p:nvSpPr>
          <p:cNvPr id="10" name="Espace réservé du texte 18">
            <a:extLst>
              <a:ext uri="{FF2B5EF4-FFF2-40B4-BE49-F238E27FC236}">
                <a16:creationId xmlns:a16="http://schemas.microsoft.com/office/drawing/2014/main" id="{2E95906C-5CA5-4BA3-A292-15C1688840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502657" y="1667163"/>
            <a:ext cx="2931231" cy="18697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350" b="1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050" b="0" cap="none">
                <a:solidFill>
                  <a:schemeClr val="accent1"/>
                </a:solidFill>
              </a:defRPr>
            </a:lvl2pPr>
            <a:lvl3pPr marL="0" indent="0">
              <a:buNone/>
              <a:tabLst/>
              <a:defRPr sz="1500" b="1" cap="all"/>
            </a:lvl3pPr>
            <a:lvl4pPr marL="0" indent="0">
              <a:buNone/>
              <a:tabLst/>
              <a:defRPr sz="1500" b="1" cap="all"/>
            </a:lvl4pPr>
            <a:lvl5pPr marL="0" indent="0">
              <a:buNone/>
              <a:tabLst/>
              <a:defRPr sz="1500" b="1" cap="all"/>
            </a:lvl5pPr>
          </a:lstStyle>
          <a:p>
            <a:r>
              <a:rPr lang="en-GB" noProof="0"/>
              <a:t>Part title</a:t>
            </a:r>
          </a:p>
        </p:txBody>
      </p:sp>
      <p:sp>
        <p:nvSpPr>
          <p:cNvPr id="11" name="Espace réservé du texte 12">
            <a:extLst>
              <a:ext uri="{FF2B5EF4-FFF2-40B4-BE49-F238E27FC236}">
                <a16:creationId xmlns:a16="http://schemas.microsoft.com/office/drawing/2014/main" id="{3FB003D9-D2CB-43AC-8422-454FDA1FEB7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502657" y="1115155"/>
            <a:ext cx="481264" cy="307777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01</a:t>
            </a:r>
          </a:p>
        </p:txBody>
      </p:sp>
      <p:sp>
        <p:nvSpPr>
          <p:cNvPr id="12" name="Espace réservé du texte 12">
            <a:extLst>
              <a:ext uri="{FF2B5EF4-FFF2-40B4-BE49-F238E27FC236}">
                <a16:creationId xmlns:a16="http://schemas.microsoft.com/office/drawing/2014/main" id="{88B6B1E0-5651-4B71-B828-F03662BF48E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615439" y="2610625"/>
            <a:ext cx="330381" cy="19768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5067" rtl="0" eaLnBrk="1" latinLnBrk="0" hangingPunct="1">
              <a:lnSpc>
                <a:spcPct val="7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None/>
              <a:defRPr lang="en-GB" sz="1800" b="0" i="0" kern="1200" baseline="0" noProof="0" dirty="0">
                <a:gradFill>
                  <a:gsLst>
                    <a:gs pos="0">
                      <a:schemeClr val="accent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GB" noProof="0"/>
              <a:t>|</a:t>
            </a:r>
          </a:p>
        </p:txBody>
      </p:sp>
      <p:sp>
        <p:nvSpPr>
          <p:cNvPr id="13" name="Espace réservé du texte 18">
            <a:extLst>
              <a:ext uri="{FF2B5EF4-FFF2-40B4-BE49-F238E27FC236}">
                <a16:creationId xmlns:a16="http://schemas.microsoft.com/office/drawing/2014/main" id="{A97D576F-69C8-42FE-B023-2F464A71D43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502657" y="2841913"/>
            <a:ext cx="2931231" cy="18697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350" b="1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050" b="0" cap="none">
                <a:solidFill>
                  <a:schemeClr val="accent1"/>
                </a:solidFill>
              </a:defRPr>
            </a:lvl2pPr>
            <a:lvl3pPr marL="0" indent="0">
              <a:buNone/>
              <a:tabLst/>
              <a:defRPr sz="1500" b="1" cap="all"/>
            </a:lvl3pPr>
            <a:lvl4pPr marL="0" indent="0">
              <a:buNone/>
              <a:tabLst/>
              <a:defRPr sz="1500" b="1" cap="all"/>
            </a:lvl4pPr>
            <a:lvl5pPr marL="0" indent="0">
              <a:buNone/>
              <a:tabLst/>
              <a:defRPr sz="1500" b="1" cap="all"/>
            </a:lvl5pPr>
          </a:lstStyle>
          <a:p>
            <a:r>
              <a:rPr lang="en-GB" noProof="0"/>
              <a:t>Part title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90896ABD-2DB8-45E3-9D11-DFC204093E2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502657" y="2289905"/>
            <a:ext cx="481264" cy="307777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02</a:t>
            </a:r>
          </a:p>
        </p:txBody>
      </p:sp>
      <p:sp>
        <p:nvSpPr>
          <p:cNvPr id="15" name="Espace réservé du texte 12">
            <a:extLst>
              <a:ext uri="{FF2B5EF4-FFF2-40B4-BE49-F238E27FC236}">
                <a16:creationId xmlns:a16="http://schemas.microsoft.com/office/drawing/2014/main" id="{2A997D23-2302-4814-A181-1BB59782BF2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615439" y="3791725"/>
            <a:ext cx="330381" cy="19768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5067" rtl="0" eaLnBrk="1" latinLnBrk="0" hangingPunct="1">
              <a:lnSpc>
                <a:spcPct val="7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None/>
              <a:defRPr lang="en-GB" sz="1800" b="0" i="0" kern="1200" baseline="0" noProof="0" dirty="0">
                <a:gradFill>
                  <a:gsLst>
                    <a:gs pos="0">
                      <a:schemeClr val="accent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GB" noProof="0"/>
              <a:t>|</a:t>
            </a:r>
          </a:p>
        </p:txBody>
      </p:sp>
      <p:sp>
        <p:nvSpPr>
          <p:cNvPr id="16" name="Espace réservé du texte 18">
            <a:extLst>
              <a:ext uri="{FF2B5EF4-FFF2-40B4-BE49-F238E27FC236}">
                <a16:creationId xmlns:a16="http://schemas.microsoft.com/office/drawing/2014/main" id="{31915861-BEA1-4BE2-9820-FD61F69BEE5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02657" y="4023013"/>
            <a:ext cx="2931231" cy="18697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350" b="1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050" b="0" cap="none">
                <a:solidFill>
                  <a:schemeClr val="accent1"/>
                </a:solidFill>
              </a:defRPr>
            </a:lvl2pPr>
            <a:lvl3pPr marL="0" indent="0">
              <a:buNone/>
              <a:tabLst/>
              <a:defRPr sz="1500" b="1" cap="all"/>
            </a:lvl3pPr>
            <a:lvl4pPr marL="0" indent="0">
              <a:buNone/>
              <a:tabLst/>
              <a:defRPr sz="1500" b="1" cap="all"/>
            </a:lvl4pPr>
            <a:lvl5pPr marL="0" indent="0">
              <a:buNone/>
              <a:tabLst/>
              <a:defRPr sz="1500" b="1" cap="all"/>
            </a:lvl5pPr>
          </a:lstStyle>
          <a:p>
            <a:r>
              <a:rPr lang="en-GB" noProof="0"/>
              <a:t>Part title</a:t>
            </a:r>
          </a:p>
        </p:txBody>
      </p:sp>
      <p:sp>
        <p:nvSpPr>
          <p:cNvPr id="17" name="Espace réservé du texte 12">
            <a:extLst>
              <a:ext uri="{FF2B5EF4-FFF2-40B4-BE49-F238E27FC236}">
                <a16:creationId xmlns:a16="http://schemas.microsoft.com/office/drawing/2014/main" id="{6D4CAEA7-9180-42FB-8D51-9E432AEC85D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502657" y="3471005"/>
            <a:ext cx="481264" cy="307777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03</a:t>
            </a:r>
          </a:p>
        </p:txBody>
      </p:sp>
      <p:sp>
        <p:nvSpPr>
          <p:cNvPr id="18" name="Espace réservé du texte 12">
            <a:extLst>
              <a:ext uri="{FF2B5EF4-FFF2-40B4-BE49-F238E27FC236}">
                <a16:creationId xmlns:a16="http://schemas.microsoft.com/office/drawing/2014/main" id="{2F7A1BBB-6777-4A51-9BE8-A09C47FEE2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722619" y="1435875"/>
            <a:ext cx="330381" cy="19768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5067" rtl="0" eaLnBrk="1" latinLnBrk="0" hangingPunct="1">
              <a:lnSpc>
                <a:spcPct val="7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None/>
              <a:defRPr lang="en-GB" sz="1800" b="0" i="0" kern="1200" baseline="0" noProof="0" dirty="0">
                <a:gradFill>
                  <a:gsLst>
                    <a:gs pos="0">
                      <a:schemeClr val="accent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GB" noProof="0"/>
              <a:t>|</a:t>
            </a:r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id="{A6FE8267-9C90-4C1D-AB2F-3D28E1DF52E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609837" y="1667163"/>
            <a:ext cx="2931231" cy="18697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350" b="1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050" b="0" cap="none">
                <a:solidFill>
                  <a:schemeClr val="accent1"/>
                </a:solidFill>
              </a:defRPr>
            </a:lvl2pPr>
            <a:lvl3pPr marL="0" indent="0">
              <a:buNone/>
              <a:tabLst/>
              <a:defRPr sz="1500" b="1" cap="all"/>
            </a:lvl3pPr>
            <a:lvl4pPr marL="0" indent="0">
              <a:buNone/>
              <a:tabLst/>
              <a:defRPr sz="1500" b="1" cap="all"/>
            </a:lvl4pPr>
            <a:lvl5pPr marL="0" indent="0">
              <a:buNone/>
              <a:tabLst/>
              <a:defRPr sz="1500" b="1" cap="all"/>
            </a:lvl5pPr>
          </a:lstStyle>
          <a:p>
            <a:r>
              <a:rPr lang="en-GB" noProof="0"/>
              <a:t>Part title</a:t>
            </a:r>
          </a:p>
        </p:txBody>
      </p:sp>
      <p:sp>
        <p:nvSpPr>
          <p:cNvPr id="20" name="Espace réservé du texte 12">
            <a:extLst>
              <a:ext uri="{FF2B5EF4-FFF2-40B4-BE49-F238E27FC236}">
                <a16:creationId xmlns:a16="http://schemas.microsoft.com/office/drawing/2014/main" id="{E2D8F071-1674-4659-8AE2-EA5C61295D2A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609837" y="1115155"/>
            <a:ext cx="481264" cy="307777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04</a:t>
            </a:r>
          </a:p>
        </p:txBody>
      </p:sp>
      <p:sp>
        <p:nvSpPr>
          <p:cNvPr id="21" name="Espace réservé du texte 12">
            <a:extLst>
              <a:ext uri="{FF2B5EF4-FFF2-40B4-BE49-F238E27FC236}">
                <a16:creationId xmlns:a16="http://schemas.microsoft.com/office/drawing/2014/main" id="{CD515270-43AC-4900-A0A6-28051461CCE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722619" y="2610625"/>
            <a:ext cx="330381" cy="19768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5067" rtl="0" eaLnBrk="1" latinLnBrk="0" hangingPunct="1">
              <a:lnSpc>
                <a:spcPct val="7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None/>
              <a:defRPr lang="en-GB" sz="1800" b="0" i="0" kern="1200" baseline="0" noProof="0" dirty="0">
                <a:gradFill>
                  <a:gsLst>
                    <a:gs pos="0">
                      <a:schemeClr val="accent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GB" noProof="0"/>
              <a:t>|</a:t>
            </a:r>
          </a:p>
        </p:txBody>
      </p:sp>
      <p:sp>
        <p:nvSpPr>
          <p:cNvPr id="22" name="Espace réservé du texte 18">
            <a:extLst>
              <a:ext uri="{FF2B5EF4-FFF2-40B4-BE49-F238E27FC236}">
                <a16:creationId xmlns:a16="http://schemas.microsoft.com/office/drawing/2014/main" id="{AD482873-8F59-44F9-AA47-AE7E0A0790E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609837" y="2841913"/>
            <a:ext cx="2931231" cy="18697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350" b="1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050" b="0" cap="none">
                <a:solidFill>
                  <a:schemeClr val="accent1"/>
                </a:solidFill>
              </a:defRPr>
            </a:lvl2pPr>
            <a:lvl3pPr marL="0" indent="0">
              <a:buNone/>
              <a:tabLst/>
              <a:defRPr sz="1500" b="1" cap="all"/>
            </a:lvl3pPr>
            <a:lvl4pPr marL="0" indent="0">
              <a:buNone/>
              <a:tabLst/>
              <a:defRPr sz="1500" b="1" cap="all"/>
            </a:lvl4pPr>
            <a:lvl5pPr marL="0" indent="0">
              <a:buNone/>
              <a:tabLst/>
              <a:defRPr sz="1500" b="1" cap="all"/>
            </a:lvl5pPr>
          </a:lstStyle>
          <a:p>
            <a:r>
              <a:rPr lang="en-GB" noProof="0"/>
              <a:t>Part title</a:t>
            </a:r>
          </a:p>
        </p:txBody>
      </p:sp>
      <p:sp>
        <p:nvSpPr>
          <p:cNvPr id="23" name="Espace réservé du texte 12">
            <a:extLst>
              <a:ext uri="{FF2B5EF4-FFF2-40B4-BE49-F238E27FC236}">
                <a16:creationId xmlns:a16="http://schemas.microsoft.com/office/drawing/2014/main" id="{A7A143B4-4E3D-4D1B-9C7D-F703929996F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609837" y="2289905"/>
            <a:ext cx="481264" cy="307777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05</a:t>
            </a:r>
          </a:p>
        </p:txBody>
      </p:sp>
      <p:sp>
        <p:nvSpPr>
          <p:cNvPr id="24" name="Espace réservé du texte 12">
            <a:extLst>
              <a:ext uri="{FF2B5EF4-FFF2-40B4-BE49-F238E27FC236}">
                <a16:creationId xmlns:a16="http://schemas.microsoft.com/office/drawing/2014/main" id="{482FD671-50B7-4243-BDE4-41F913FEFBA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722619" y="3791725"/>
            <a:ext cx="330381" cy="19768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5067" rtl="0" eaLnBrk="1" latinLnBrk="0" hangingPunct="1">
              <a:lnSpc>
                <a:spcPct val="7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None/>
              <a:defRPr lang="en-GB" sz="1800" b="0" i="0" kern="1200" baseline="0" noProof="0" dirty="0">
                <a:gradFill>
                  <a:gsLst>
                    <a:gs pos="0">
                      <a:schemeClr val="accent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GB" noProof="0"/>
              <a:t>|</a:t>
            </a:r>
          </a:p>
        </p:txBody>
      </p:sp>
      <p:sp>
        <p:nvSpPr>
          <p:cNvPr id="25" name="Espace réservé du texte 18">
            <a:extLst>
              <a:ext uri="{FF2B5EF4-FFF2-40B4-BE49-F238E27FC236}">
                <a16:creationId xmlns:a16="http://schemas.microsoft.com/office/drawing/2014/main" id="{12B75139-0488-42FE-B16B-FF5E9C38C1A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609837" y="4023013"/>
            <a:ext cx="2931231" cy="18697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350" b="1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050" b="0" cap="none">
                <a:solidFill>
                  <a:schemeClr val="accent1"/>
                </a:solidFill>
              </a:defRPr>
            </a:lvl2pPr>
            <a:lvl3pPr marL="0" indent="0">
              <a:buNone/>
              <a:tabLst/>
              <a:defRPr sz="1500" b="1" cap="all"/>
            </a:lvl3pPr>
            <a:lvl4pPr marL="0" indent="0">
              <a:buNone/>
              <a:tabLst/>
              <a:defRPr sz="1500" b="1" cap="all"/>
            </a:lvl4pPr>
            <a:lvl5pPr marL="0" indent="0">
              <a:buNone/>
              <a:tabLst/>
              <a:defRPr sz="1500" b="1" cap="all"/>
            </a:lvl5pPr>
          </a:lstStyle>
          <a:p>
            <a:r>
              <a:rPr lang="en-GB" noProof="0"/>
              <a:t>Part title</a:t>
            </a:r>
          </a:p>
        </p:txBody>
      </p:sp>
      <p:sp>
        <p:nvSpPr>
          <p:cNvPr id="26" name="Espace réservé du texte 12">
            <a:extLst>
              <a:ext uri="{FF2B5EF4-FFF2-40B4-BE49-F238E27FC236}">
                <a16:creationId xmlns:a16="http://schemas.microsoft.com/office/drawing/2014/main" id="{F732F2DD-7975-4E7B-872E-ACE4E87EDB1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609837" y="3471005"/>
            <a:ext cx="481264" cy="307777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06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9451413B-5451-2984-8B2D-A6F9405B13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5B1DC2F-D657-9282-433F-17C23CDD4B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44658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imag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4463989" y="1132239"/>
            <a:ext cx="4429187" cy="3493578"/>
          </a:xfrm>
        </p:spPr>
        <p:txBody>
          <a:bodyPr/>
          <a:lstStyle>
            <a:lvl2pPr>
              <a:spcAft>
                <a:spcPts val="600"/>
              </a:spcAft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/>
              <a:t>Jour/mois/année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l"/>
            <a:r>
              <a:rPr lang="en-US"/>
              <a:t>Safran Aircraft Engines / 08.02.2023 / YXFF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0" name="Espace réservé pour une image  16"/>
          <p:cNvSpPr>
            <a:spLocks noGrp="1"/>
          </p:cNvSpPr>
          <p:nvPr>
            <p:ph type="pic" sz="quarter" idx="14"/>
          </p:nvPr>
        </p:nvSpPr>
        <p:spPr bwMode="gray">
          <a:xfrm>
            <a:off x="503238" y="1203970"/>
            <a:ext cx="3759162" cy="2721242"/>
          </a:xfrm>
          <a:solidFill>
            <a:schemeClr val="bg1">
              <a:lumMod val="95000"/>
            </a:schemeClr>
          </a:solidFill>
          <a:ln w="57150">
            <a:solidFill>
              <a:schemeClr val="accent1"/>
            </a:solidFill>
            <a:miter lim="800000"/>
          </a:ln>
        </p:spPr>
        <p:txBody>
          <a:bodyPr lIns="360000" tIns="1080000" rIns="360000" anchor="ctr" anchorCtr="0"/>
          <a:lstStyle>
            <a:lvl1pPr algn="ctr">
              <a:defRPr sz="1000" b="0"/>
            </a:lvl1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8308618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gran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/>
              <a:t>Jour/mois/année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l"/>
            <a:r>
              <a:rPr lang="en-US"/>
              <a:t>Safran Aircraft Engines / 08.02.2023 / YXFF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Espace réservé pour une image  16"/>
          <p:cNvSpPr>
            <a:spLocks noGrp="1"/>
          </p:cNvSpPr>
          <p:nvPr>
            <p:ph type="pic" sz="quarter" idx="15"/>
          </p:nvPr>
        </p:nvSpPr>
        <p:spPr bwMode="gray">
          <a:xfrm>
            <a:off x="503238" y="1224378"/>
            <a:ext cx="8331162" cy="3114961"/>
          </a:xfrm>
          <a:solidFill>
            <a:schemeClr val="bg1">
              <a:lumMod val="95000"/>
            </a:schemeClr>
          </a:solidFill>
          <a:ln w="57150">
            <a:solidFill>
              <a:schemeClr val="accent1"/>
            </a:solidFill>
            <a:miter lim="800000"/>
          </a:ln>
        </p:spPr>
        <p:txBody>
          <a:bodyPr lIns="360000" tIns="1080000" rIns="360000" anchor="ctr" anchorCtr="0"/>
          <a:lstStyle>
            <a:lvl1pPr algn="ctr">
              <a:defRPr sz="1000" b="0"/>
            </a:lvl1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283491608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Jour/mois/anné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Safran Aircraft Engines / 08.02.2023 / YXFF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3088" y="1718454"/>
            <a:ext cx="2157824" cy="1708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6004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672000" y="4321334"/>
            <a:ext cx="1800000" cy="720222"/>
          </a:xfrm>
          <a:prstGeom prst="rect">
            <a:avLst/>
          </a:prstGeom>
        </p:spPr>
      </p:pic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503239" y="411290"/>
            <a:ext cx="8137525" cy="2161254"/>
          </a:xfrm>
        </p:spPr>
        <p:txBody>
          <a:bodyPr anchor="b" anchorCtr="0"/>
          <a:lstStyle>
            <a:lvl1pPr algn="ctr">
              <a:defRPr sz="2600" cap="all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9" name="Rectangle 8"/>
          <p:cNvSpPr/>
          <p:nvPr userDrawn="1"/>
        </p:nvSpPr>
        <p:spPr bwMode="gray">
          <a:xfrm>
            <a:off x="287339" y="4961333"/>
            <a:ext cx="8569325" cy="183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cxnSp>
        <p:nvCxnSpPr>
          <p:cNvPr id="15" name="Connecteur droit 14"/>
          <p:cNvCxnSpPr/>
          <p:nvPr userDrawn="1"/>
        </p:nvCxnSpPr>
        <p:spPr bwMode="gray">
          <a:xfrm>
            <a:off x="4464000" y="2663650"/>
            <a:ext cx="216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503238" y="2751248"/>
            <a:ext cx="8136000" cy="11523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650">
                <a:solidFill>
                  <a:schemeClr val="accent2"/>
                </a:solidFill>
              </a:defRPr>
            </a:lvl1pPr>
          </a:lstStyle>
          <a:p>
            <a:r>
              <a:rPr lang="fr-FR"/>
              <a:t>Jour/mois/année</a:t>
            </a:r>
          </a:p>
        </p:txBody>
      </p:sp>
      <p:sp>
        <p:nvSpPr>
          <p:cNvPr id="13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" y="4913241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US"/>
              <a:t>Safran Aircraft Engines / 08.02.2023 / YXFF</a:t>
            </a:r>
            <a:endParaRPr lang="fr-FR"/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" y="4913242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 b="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0" name="Rectangle 9"/>
          <p:cNvSpPr/>
          <p:nvPr userDrawn="1"/>
        </p:nvSpPr>
        <p:spPr bwMode="gray">
          <a:xfrm rot="16200000" flipH="1">
            <a:off x="-1680005" y="2184084"/>
            <a:ext cx="3925211" cy="61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252000" y="252078"/>
            <a:ext cx="8640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7" name="Rectangle 16"/>
          <p:cNvSpPr/>
          <p:nvPr userDrawn="1"/>
        </p:nvSpPr>
        <p:spPr bwMode="gray">
          <a:xfrm rot="5400000">
            <a:off x="6898795" y="2184084"/>
            <a:ext cx="3925211" cy="61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8" name="Rectangle 17"/>
          <p:cNvSpPr/>
          <p:nvPr userDrawn="1"/>
        </p:nvSpPr>
        <p:spPr bwMode="gray">
          <a:xfrm rot="10800000">
            <a:off x="252000" y="4116069"/>
            <a:ext cx="8640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56326095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 noProof="0"/>
              <a:t>Jour/mois/année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l"/>
            <a:r>
              <a:rPr lang="en-US" noProof="0"/>
              <a:t>Safran Aircraft Engines / 08.02.2023 / YXFF</a:t>
            </a:r>
            <a:endParaRPr lang="fr-FR" noProof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noProof="0" smtClean="0"/>
              <a:pPr/>
              <a:t>‹N°›</a:t>
            </a:fld>
            <a:endParaRPr lang="fr-FR" noProof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39863" y="1132239"/>
            <a:ext cx="7453312" cy="3493578"/>
          </a:xfrm>
        </p:spPr>
        <p:txBody>
          <a:bodyPr/>
          <a:lstStyle>
            <a:lvl1pPr marL="0" indent="0">
              <a:buSzPct val="25000"/>
              <a:buFontTx/>
              <a:buBlip>
                <a:blip r:embed="rId2"/>
              </a:buBlip>
              <a:defRPr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noProof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153464553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672000" y="4321334"/>
            <a:ext cx="1800000" cy="720222"/>
          </a:xfrm>
          <a:prstGeom prst="rect">
            <a:avLst/>
          </a:prstGeom>
        </p:spPr>
      </p:pic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503240" y="411291"/>
            <a:ext cx="8137525" cy="2161254"/>
          </a:xfrm>
        </p:spPr>
        <p:txBody>
          <a:bodyPr anchor="b" anchorCtr="0"/>
          <a:lstStyle>
            <a:lvl1pPr algn="ctr">
              <a:defRPr sz="2600" cap="all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287340" y="4961334"/>
            <a:ext cx="8569325" cy="183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cxnSp>
        <p:nvCxnSpPr>
          <p:cNvPr id="15" name="Connecteur droit 14"/>
          <p:cNvCxnSpPr/>
          <p:nvPr/>
        </p:nvCxnSpPr>
        <p:spPr bwMode="gray">
          <a:xfrm>
            <a:off x="4464000" y="2663650"/>
            <a:ext cx="216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503238" y="2751248"/>
            <a:ext cx="8136000" cy="11523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650">
                <a:solidFill>
                  <a:schemeClr val="accent2"/>
                </a:solidFill>
              </a:defRPr>
            </a:lvl1pPr>
          </a:lstStyle>
          <a:p>
            <a:fld id="{F5051C53-0387-4433-9396-162C7EF7A3C8}" type="datetime1">
              <a:rPr lang="fr-FR" smtClean="0"/>
              <a:t>03/11/2023</a:t>
            </a:fld>
            <a:endParaRPr lang="fr-FR"/>
          </a:p>
        </p:txBody>
      </p:sp>
      <p:sp>
        <p:nvSpPr>
          <p:cNvPr id="13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" y="4913242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Safran / C2-Restricted</a:t>
            </a:r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" y="4913243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 b="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  <p:sp>
        <p:nvSpPr>
          <p:cNvPr id="10" name="Rectangle 9"/>
          <p:cNvSpPr/>
          <p:nvPr/>
        </p:nvSpPr>
        <p:spPr bwMode="gray">
          <a:xfrm rot="16200000" flipH="1">
            <a:off x="-1680005" y="2184084"/>
            <a:ext cx="3925211" cy="61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6" name="Rectangle 15"/>
          <p:cNvSpPr/>
          <p:nvPr/>
        </p:nvSpPr>
        <p:spPr bwMode="gray">
          <a:xfrm>
            <a:off x="252000" y="252078"/>
            <a:ext cx="8640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7" name="Rectangle 16"/>
          <p:cNvSpPr/>
          <p:nvPr/>
        </p:nvSpPr>
        <p:spPr bwMode="gray">
          <a:xfrm rot="5400000">
            <a:off x="6898795" y="2184084"/>
            <a:ext cx="3925211" cy="61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8" name="Rectangle 17"/>
          <p:cNvSpPr/>
          <p:nvPr/>
        </p:nvSpPr>
        <p:spPr bwMode="gray">
          <a:xfrm rot="10800000">
            <a:off x="252000" y="4116069"/>
            <a:ext cx="8640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279454716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_image_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" y="735240"/>
            <a:ext cx="4392613" cy="3169628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672000" y="4321334"/>
            <a:ext cx="1800000" cy="720222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gray">
          <a:xfrm>
            <a:off x="287340" y="4961334"/>
            <a:ext cx="8569325" cy="183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15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 rot="16200000">
            <a:off x="-168000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4572002" y="411289"/>
            <a:ext cx="4068763" cy="2196678"/>
          </a:xfrm>
        </p:spPr>
        <p:txBody>
          <a:bodyPr anchor="b" anchorCtr="0"/>
          <a:lstStyle>
            <a:lvl1pPr algn="l">
              <a:defRPr sz="1850" cap="all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cxnSp>
        <p:nvCxnSpPr>
          <p:cNvPr id="13" name="Connecteur droit 12"/>
          <p:cNvCxnSpPr/>
          <p:nvPr/>
        </p:nvCxnSpPr>
        <p:spPr bwMode="gray">
          <a:xfrm>
            <a:off x="4572000" y="2752620"/>
            <a:ext cx="216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4572000" y="2967316"/>
            <a:ext cx="4067238" cy="936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2"/>
                </a:solidFill>
              </a:defRPr>
            </a:lvl1pPr>
          </a:lstStyle>
          <a:p>
            <a:fld id="{9E78F3F0-B85E-4679-ABE6-444414FE19A7}" type="datetime1">
              <a:rPr lang="fr-FR" smtClean="0"/>
              <a:t>03/11/2023</a:t>
            </a:fld>
            <a:endParaRPr lang="fr-FR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" y="4913242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Safran / C2-Restricted</a:t>
            </a:r>
          </a:p>
        </p:txBody>
      </p:sp>
      <p:sp>
        <p:nvSpPr>
          <p:cNvPr id="1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" y="4913243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 b="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52000" y="252078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8" name="Espace réservé du texte 13"/>
          <p:cNvSpPr>
            <a:spLocks noGrp="1"/>
          </p:cNvSpPr>
          <p:nvPr>
            <p:ph type="body" sz="quarter" idx="16" hasCustomPrompt="1"/>
          </p:nvPr>
        </p:nvSpPr>
        <p:spPr bwMode="gray">
          <a:xfrm rot="10800000">
            <a:off x="252000" y="4116069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 rot="5400000">
            <a:off x="689879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9693896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_image_cen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672000" y="4321334"/>
            <a:ext cx="1800000" cy="720222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gray">
          <a:xfrm>
            <a:off x="287340" y="4961334"/>
            <a:ext cx="8569325" cy="183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cxnSp>
        <p:nvCxnSpPr>
          <p:cNvPr id="14" name="Connecteur droit 13"/>
          <p:cNvCxnSpPr/>
          <p:nvPr/>
        </p:nvCxnSpPr>
        <p:spPr bwMode="gray">
          <a:xfrm>
            <a:off x="4464000" y="3913573"/>
            <a:ext cx="216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" y="4913242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Safran / C2-Restricted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" y="4913243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 b="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  <p:sp>
        <p:nvSpPr>
          <p:cNvPr id="17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044000" y="1"/>
            <a:ext cx="7056000" cy="3060946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sp>
        <p:nvSpPr>
          <p:cNvPr id="16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 rot="16200000">
            <a:off x="-168000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1" name="Espace réservé du texte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52000" y="252078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2" name="Espace réservé du texte 13"/>
          <p:cNvSpPr>
            <a:spLocks noGrp="1"/>
          </p:cNvSpPr>
          <p:nvPr>
            <p:ph type="body" sz="quarter" idx="16" hasCustomPrompt="1"/>
          </p:nvPr>
        </p:nvSpPr>
        <p:spPr bwMode="gray">
          <a:xfrm rot="10800000">
            <a:off x="252000" y="4116069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3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 rot="5400000">
            <a:off x="689879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503240" y="3076757"/>
            <a:ext cx="8137525" cy="684287"/>
          </a:xfrm>
        </p:spPr>
        <p:txBody>
          <a:bodyPr anchor="b" anchorCtr="0"/>
          <a:lstStyle>
            <a:lvl1pPr algn="ctr">
              <a:defRPr sz="1850" cap="all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3312000" y="4011638"/>
            <a:ext cx="2520000" cy="25207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2"/>
                </a:solidFill>
              </a:defRPr>
            </a:lvl1pPr>
          </a:lstStyle>
          <a:p>
            <a:fld id="{8EBBEECF-4F5A-45EF-AFF7-C66C79FE99D6}" type="datetime1">
              <a:rPr lang="fr-FR" smtClean="0"/>
              <a:t>03/11/20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5134438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_image_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0" y="0"/>
            <a:ext cx="899592" cy="879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5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50827" y="250901"/>
            <a:ext cx="4321175" cy="4158948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3A54842B-D8E6-4B4C-97A0-50583B50D0C8}" type="datetime1">
              <a:rPr lang="fr-FR" smtClean="0"/>
              <a:t>03/11/2023</a:t>
            </a:fld>
            <a:endParaRPr lang="fr-FR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fr-FR"/>
              <a:t>Safran / C2-Restricted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  <p:sp>
        <p:nvSpPr>
          <p:cNvPr id="28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023302" y="1635630"/>
            <a:ext cx="3852862" cy="2485205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14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9" name="Espace réservé du texte 13"/>
          <p:cNvSpPr>
            <a:spLocks noGrp="1"/>
          </p:cNvSpPr>
          <p:nvPr>
            <p:ph type="body" sz="quarter" idx="23" hasCustomPrompt="1"/>
          </p:nvPr>
        </p:nvSpPr>
        <p:spPr bwMode="gray">
          <a:xfrm rot="16200000">
            <a:off x="2640117" y="2688239"/>
            <a:ext cx="3132967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176000" y="1152356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1" name="Espace réservé du texte 13"/>
          <p:cNvSpPr>
            <a:spLocks noGrp="1"/>
          </p:cNvSpPr>
          <p:nvPr>
            <p:ph type="body" sz="quarter" idx="25" hasCustomPrompt="1"/>
          </p:nvPr>
        </p:nvSpPr>
        <p:spPr bwMode="gray">
          <a:xfrm rot="10800000">
            <a:off x="4176000" y="4224104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6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850433" y="250901"/>
            <a:ext cx="585664" cy="1195569"/>
          </a:xfrm>
          <a:solidFill>
            <a:schemeClr val="bg1"/>
          </a:solidFill>
        </p:spPr>
        <p:txBody>
          <a:bodyPr wrap="none" lIns="36000" tIns="36000" rIns="36000" bIns="36000" anchor="b" anchorCtr="0">
            <a:spAutoFit/>
          </a:bodyPr>
          <a:lstStyle>
            <a:lvl1pPr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fr-FR" noProof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2214507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_image_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0" y="0"/>
            <a:ext cx="899592" cy="879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5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572002" y="250901"/>
            <a:ext cx="4321175" cy="4158948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202C3A10-D281-4B3F-BD79-14890C77988D}" type="datetime1">
              <a:rPr lang="fr-FR" smtClean="0"/>
              <a:t>03/11/2023</a:t>
            </a:fld>
            <a:endParaRPr lang="fr-FR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fr-FR"/>
              <a:t>Safran / C2-Restricted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  <p:sp>
        <p:nvSpPr>
          <p:cNvPr id="16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99062" y="1631139"/>
            <a:ext cx="3852862" cy="2485205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14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23" hasCustomPrompt="1"/>
          </p:nvPr>
        </p:nvSpPr>
        <p:spPr bwMode="gray">
          <a:xfrm rot="5400000">
            <a:off x="3370917" y="2688239"/>
            <a:ext cx="3132967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8" name="Espace réservé du texte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0" y="1152356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3"/>
          <p:cNvSpPr>
            <a:spLocks noGrp="1"/>
          </p:cNvSpPr>
          <p:nvPr>
            <p:ph type="body" sz="quarter" idx="25" hasCustomPrompt="1"/>
          </p:nvPr>
        </p:nvSpPr>
        <p:spPr bwMode="gray">
          <a:xfrm rot="10800000">
            <a:off x="0" y="4224103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6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28000" y="250901"/>
            <a:ext cx="585664" cy="1195569"/>
          </a:xfrm>
          <a:solidFill>
            <a:schemeClr val="bg1"/>
          </a:solidFill>
        </p:spPr>
        <p:txBody>
          <a:bodyPr wrap="none" lIns="36000" tIns="36000" rIns="36000" bIns="36000" anchor="b" anchorCtr="0">
            <a:spAutoFit/>
          </a:bodyPr>
          <a:lstStyle>
            <a:lvl1pPr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fr-FR" noProof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2235839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8B5E11D-EF93-41A8-A600-0E2A21B23E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62B4ADC-2F3D-9A7B-F4CB-9D3FBC2D15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  <p:sp>
        <p:nvSpPr>
          <p:cNvPr id="6" name="Espace réservé du contenu 3">
            <a:extLst>
              <a:ext uri="{FF2B5EF4-FFF2-40B4-BE49-F238E27FC236}">
                <a16:creationId xmlns:a16="http://schemas.microsoft.com/office/drawing/2014/main" id="{14E6BA19-6303-EEAE-18EC-0686F94CEE2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87338" y="1017589"/>
            <a:ext cx="8569325" cy="360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189837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defRPr sz="1350"/>
            </a:lvl1pPr>
            <a:lvl2pPr>
              <a:spcAft>
                <a:spcPts val="600"/>
              </a:spcAft>
              <a:defRPr sz="1050"/>
            </a:lvl2pPr>
            <a:lvl3pPr>
              <a:defRPr sz="1050"/>
            </a:lvl3pPr>
            <a:lvl4pPr>
              <a:defRPr sz="1050" baseline="0"/>
            </a:lvl4pPr>
            <a:lvl5pPr>
              <a:defRPr sz="1050"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 cap="all" baseline="0"/>
            </a:lvl1pPr>
          </a:lstStyle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D326196-C81D-4501-BF80-29231B277FB7}" type="datetime1">
              <a:rPr lang="fr-FR" smtClean="0"/>
              <a:t>03/11/20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sz="675"/>
            </a:lvl1pPr>
          </a:lstStyle>
          <a:p>
            <a:pPr algn="l"/>
            <a:r>
              <a:rPr lang="fr-FR"/>
              <a:t>Safran / C2-Restricted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52016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imag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4463990" y="1132239"/>
            <a:ext cx="4429187" cy="3493578"/>
          </a:xfrm>
        </p:spPr>
        <p:txBody>
          <a:bodyPr/>
          <a:lstStyle>
            <a:lvl2pPr>
              <a:spcAft>
                <a:spcPts val="600"/>
              </a:spcAft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75056B3-0EDD-438F-95FA-C4E454C1FBC6}" type="datetime1">
              <a:rPr lang="fr-FR" smtClean="0"/>
              <a:t>03/11/20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Safran / C2-Restricted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  <p:sp>
        <p:nvSpPr>
          <p:cNvPr id="10" name="Espace réservé pour une image  16"/>
          <p:cNvSpPr>
            <a:spLocks noGrp="1"/>
          </p:cNvSpPr>
          <p:nvPr>
            <p:ph type="pic" sz="quarter" idx="14"/>
          </p:nvPr>
        </p:nvSpPr>
        <p:spPr bwMode="gray">
          <a:xfrm>
            <a:off x="554400" y="1224378"/>
            <a:ext cx="3708000" cy="2700834"/>
          </a:xfrm>
          <a:solidFill>
            <a:schemeClr val="bg1">
              <a:lumMod val="95000"/>
            </a:schemeClr>
          </a:solidFill>
          <a:ln w="57150">
            <a:solidFill>
              <a:schemeClr val="accent1"/>
            </a:solidFill>
            <a:miter lim="800000"/>
          </a:ln>
        </p:spPr>
        <p:txBody>
          <a:bodyPr lIns="360000" tIns="1080000" rIns="360000" anchor="ctr" anchorCtr="0"/>
          <a:lstStyle>
            <a:lvl1pPr algn="ctr">
              <a:defRPr sz="1000" b="0"/>
            </a:lvl1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212621124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gran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46F587F-9B98-4FDF-9346-35E0C5152BC6}" type="datetime1">
              <a:rPr lang="fr-FR" smtClean="0"/>
              <a:t>03/11/20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Safran / C2-Restricted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pour une image  16"/>
          <p:cNvSpPr>
            <a:spLocks noGrp="1"/>
          </p:cNvSpPr>
          <p:nvPr>
            <p:ph type="pic" sz="quarter" idx="15"/>
          </p:nvPr>
        </p:nvSpPr>
        <p:spPr bwMode="gray">
          <a:xfrm>
            <a:off x="554400" y="1224378"/>
            <a:ext cx="8280000" cy="3114961"/>
          </a:xfrm>
          <a:solidFill>
            <a:schemeClr val="bg1">
              <a:lumMod val="95000"/>
            </a:schemeClr>
          </a:solidFill>
          <a:ln w="57150">
            <a:solidFill>
              <a:schemeClr val="accent1"/>
            </a:solidFill>
            <a:miter lim="800000"/>
          </a:ln>
        </p:spPr>
        <p:txBody>
          <a:bodyPr lIns="360000" tIns="1080000" rIns="360000" anchor="ctr" anchorCtr="0"/>
          <a:lstStyle>
            <a:lvl1pPr algn="ctr">
              <a:defRPr sz="1000" b="0"/>
            </a:lvl1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38240685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2F6DE-FB60-4DCC-B08A-EACA2AF226C0}" type="datetime1">
              <a:rPr lang="fr-FR" smtClean="0"/>
              <a:t>03/11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afran / C2-Restricted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3089" y="1718454"/>
            <a:ext cx="2157824" cy="1708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81351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B82F38D-246B-4C8B-AC55-C56B7D1E0D9B}" type="datetime1">
              <a:rPr lang="fr-FR" smtClean="0"/>
              <a:t>03/11/20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Safran / C2-Restricted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39864" y="1132239"/>
            <a:ext cx="7453312" cy="3493578"/>
          </a:xfrm>
        </p:spPr>
        <p:txBody>
          <a:bodyPr/>
          <a:lstStyle>
            <a:lvl1pPr marL="0" indent="0">
              <a:buSzPct val="25000"/>
              <a:buFontTx/>
              <a:buBlip>
                <a:blip r:embed="rId2"/>
              </a:buBlip>
              <a:defRPr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noProof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86647629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43000" y="842032"/>
            <a:ext cx="6858000" cy="1791253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143000" y="2702362"/>
            <a:ext cx="6858000" cy="1242205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C2C3C-4A98-4A4E-9101-1D341E7E002D}" type="datetime1">
              <a:rPr lang="fr-FR" smtClean="0"/>
              <a:t>03/11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afran / C2-Restricted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614661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672000" y="4321334"/>
            <a:ext cx="1800000" cy="720222"/>
          </a:xfrm>
          <a:prstGeom prst="rect">
            <a:avLst/>
          </a:prstGeom>
        </p:spPr>
      </p:pic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4644009" y="411290"/>
            <a:ext cx="3996755" cy="2161254"/>
          </a:xfrm>
        </p:spPr>
        <p:txBody>
          <a:bodyPr anchor="b" anchorCtr="0"/>
          <a:lstStyle>
            <a:lvl1pPr algn="ctr">
              <a:defRPr sz="2600" cap="all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9" name="Rectangle 8"/>
          <p:cNvSpPr/>
          <p:nvPr userDrawn="1"/>
        </p:nvSpPr>
        <p:spPr bwMode="gray">
          <a:xfrm>
            <a:off x="287339" y="4961333"/>
            <a:ext cx="8569325" cy="183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fr-FR" sz="600">
                <a:solidFill>
                  <a:schemeClr val="accent2"/>
                </a:solidFill>
              </a:rPr>
              <a:t>This</a:t>
            </a:r>
            <a:r>
              <a:rPr lang="fr-FR" sz="600" baseline="0">
                <a:solidFill>
                  <a:schemeClr val="accent2"/>
                </a:solidFill>
              </a:rPr>
              <a:t> document and the information </a:t>
            </a:r>
            <a:r>
              <a:rPr lang="fr-FR" sz="600" baseline="0" err="1">
                <a:solidFill>
                  <a:schemeClr val="accent2"/>
                </a:solidFill>
              </a:rPr>
              <a:t>therein</a:t>
            </a:r>
            <a:r>
              <a:rPr lang="fr-FR" sz="600" baseline="0">
                <a:solidFill>
                  <a:schemeClr val="accent2"/>
                </a:solidFill>
              </a:rPr>
              <a:t> are the </a:t>
            </a:r>
            <a:r>
              <a:rPr lang="fr-FR" sz="600" baseline="0" err="1">
                <a:solidFill>
                  <a:schemeClr val="accent2"/>
                </a:solidFill>
              </a:rPr>
              <a:t>property</a:t>
            </a:r>
            <a:r>
              <a:rPr lang="fr-FR" sz="600" baseline="0">
                <a:solidFill>
                  <a:schemeClr val="accent2"/>
                </a:solidFill>
              </a:rPr>
              <a:t> of Safran. </a:t>
            </a:r>
            <a:r>
              <a:rPr lang="fr-FR" sz="600" baseline="0" err="1">
                <a:solidFill>
                  <a:schemeClr val="accent2"/>
                </a:solidFill>
              </a:rPr>
              <a:t>They</a:t>
            </a:r>
            <a:r>
              <a:rPr lang="fr-FR" sz="600" baseline="0">
                <a:solidFill>
                  <a:schemeClr val="accent2"/>
                </a:solidFill>
              </a:rPr>
              <a:t> must not </a:t>
            </a:r>
            <a:r>
              <a:rPr lang="fr-FR" sz="600" baseline="0" err="1">
                <a:solidFill>
                  <a:schemeClr val="accent2"/>
                </a:solidFill>
              </a:rPr>
              <a:t>be</a:t>
            </a:r>
            <a:r>
              <a:rPr lang="fr-FR" sz="600" baseline="0">
                <a:solidFill>
                  <a:schemeClr val="accent2"/>
                </a:solidFill>
              </a:rPr>
              <a:t> </a:t>
            </a:r>
            <a:r>
              <a:rPr lang="fr-FR" sz="600" baseline="0" err="1">
                <a:solidFill>
                  <a:schemeClr val="accent2"/>
                </a:solidFill>
              </a:rPr>
              <a:t>copied</a:t>
            </a:r>
            <a:r>
              <a:rPr lang="fr-FR" sz="600" baseline="0">
                <a:solidFill>
                  <a:schemeClr val="accent2"/>
                </a:solidFill>
              </a:rPr>
              <a:t> or </a:t>
            </a:r>
            <a:r>
              <a:rPr lang="fr-FR" sz="600" baseline="0" err="1">
                <a:solidFill>
                  <a:schemeClr val="accent2"/>
                </a:solidFill>
              </a:rPr>
              <a:t>communicated</a:t>
            </a:r>
            <a:r>
              <a:rPr lang="fr-FR" sz="600" baseline="0">
                <a:solidFill>
                  <a:schemeClr val="accent2"/>
                </a:solidFill>
              </a:rPr>
              <a:t> to a </a:t>
            </a:r>
            <a:r>
              <a:rPr lang="fr-FR" sz="600" baseline="0" err="1">
                <a:solidFill>
                  <a:schemeClr val="accent2"/>
                </a:solidFill>
              </a:rPr>
              <a:t>third</a:t>
            </a:r>
            <a:r>
              <a:rPr lang="fr-FR" sz="600" baseline="0">
                <a:solidFill>
                  <a:schemeClr val="accent2"/>
                </a:solidFill>
              </a:rPr>
              <a:t> party </a:t>
            </a:r>
            <a:r>
              <a:rPr lang="fr-FR" sz="600" baseline="0" err="1">
                <a:solidFill>
                  <a:schemeClr val="accent2"/>
                </a:solidFill>
              </a:rPr>
              <a:t>without</a:t>
            </a:r>
            <a:r>
              <a:rPr lang="fr-FR" sz="600" baseline="0">
                <a:solidFill>
                  <a:schemeClr val="accent2"/>
                </a:solidFill>
              </a:rPr>
              <a:t> the </a:t>
            </a:r>
            <a:r>
              <a:rPr lang="fr-FR" sz="600" baseline="0" err="1">
                <a:solidFill>
                  <a:schemeClr val="accent2"/>
                </a:solidFill>
              </a:rPr>
              <a:t>prior</a:t>
            </a:r>
            <a:r>
              <a:rPr lang="fr-FR" sz="600" baseline="0">
                <a:solidFill>
                  <a:schemeClr val="accent2"/>
                </a:solidFill>
              </a:rPr>
              <a:t> </a:t>
            </a:r>
            <a:r>
              <a:rPr lang="fr-FR" sz="600" baseline="0" err="1">
                <a:solidFill>
                  <a:schemeClr val="accent2"/>
                </a:solidFill>
              </a:rPr>
              <a:t>written</a:t>
            </a:r>
            <a:r>
              <a:rPr lang="fr-FR" sz="600" baseline="0">
                <a:solidFill>
                  <a:schemeClr val="accent2"/>
                </a:solidFill>
              </a:rPr>
              <a:t> </a:t>
            </a:r>
            <a:r>
              <a:rPr lang="fr-FR" sz="600" baseline="0" err="1">
                <a:solidFill>
                  <a:schemeClr val="accent2"/>
                </a:solidFill>
              </a:rPr>
              <a:t>authorization</a:t>
            </a:r>
            <a:r>
              <a:rPr lang="fr-FR" sz="600" baseline="0">
                <a:solidFill>
                  <a:schemeClr val="accent2"/>
                </a:solidFill>
              </a:rPr>
              <a:t> of Safran.</a:t>
            </a:r>
            <a:endParaRPr lang="fr-FR" sz="600">
              <a:solidFill>
                <a:schemeClr val="accent2"/>
              </a:solidFill>
            </a:endParaRPr>
          </a:p>
        </p:txBody>
      </p: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4643232" y="2751248"/>
            <a:ext cx="3996006" cy="11523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650">
                <a:solidFill>
                  <a:schemeClr val="accent2"/>
                </a:solidFill>
              </a:defRPr>
            </a:lvl1pPr>
          </a:lstStyle>
          <a:p>
            <a:r>
              <a:rPr lang="fr-FR"/>
              <a:t>Jour/mois/année</a:t>
            </a:r>
          </a:p>
        </p:txBody>
      </p:sp>
      <p:sp>
        <p:nvSpPr>
          <p:cNvPr id="13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" y="4913241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Safran nom de l’activité / Confidentiel / Date / Direction (menu "Insertion / En-tête et pied de page")</a:t>
            </a:r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" y="4913242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 b="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252000" y="252078"/>
            <a:ext cx="8640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7" name="Rectangle 16"/>
          <p:cNvSpPr/>
          <p:nvPr userDrawn="1"/>
        </p:nvSpPr>
        <p:spPr bwMode="gray">
          <a:xfrm rot="5400000">
            <a:off x="6898795" y="2184084"/>
            <a:ext cx="3925211" cy="61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8" name="Rectangle 17"/>
          <p:cNvSpPr/>
          <p:nvPr userDrawn="1"/>
        </p:nvSpPr>
        <p:spPr bwMode="gray">
          <a:xfrm rot="10800000">
            <a:off x="252000" y="4116069"/>
            <a:ext cx="8640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56" name="Espace réservé pour une image  3"/>
          <p:cNvSpPr>
            <a:spLocks noGrp="1"/>
          </p:cNvSpPr>
          <p:nvPr>
            <p:ph type="pic" sz="quarter" idx="10"/>
          </p:nvPr>
        </p:nvSpPr>
        <p:spPr>
          <a:xfrm>
            <a:off x="0" y="771763"/>
            <a:ext cx="4427538" cy="3169628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2479996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672000" y="4321334"/>
            <a:ext cx="1800000" cy="720222"/>
          </a:xfrm>
          <a:prstGeom prst="rect">
            <a:avLst/>
          </a:prstGeom>
        </p:spPr>
      </p:pic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503241" y="411292"/>
            <a:ext cx="8137525" cy="2161254"/>
          </a:xfrm>
        </p:spPr>
        <p:txBody>
          <a:bodyPr anchor="b" anchorCtr="0"/>
          <a:lstStyle>
            <a:lvl1pPr algn="ctr">
              <a:defRPr sz="2600" cap="all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287341" y="4961335"/>
            <a:ext cx="8569325" cy="183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cxnSp>
        <p:nvCxnSpPr>
          <p:cNvPr id="15" name="Connecteur droit 14"/>
          <p:cNvCxnSpPr/>
          <p:nvPr/>
        </p:nvCxnSpPr>
        <p:spPr bwMode="gray">
          <a:xfrm>
            <a:off x="4464000" y="2663650"/>
            <a:ext cx="216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503238" y="2751248"/>
            <a:ext cx="8136000" cy="11523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650">
                <a:solidFill>
                  <a:schemeClr val="accent2"/>
                </a:solidFill>
              </a:defRPr>
            </a:lvl1pPr>
          </a:lstStyle>
          <a:p>
            <a:fld id="{B4B5E90E-9323-4A55-950A-D958E66BB332}" type="datetime1">
              <a:rPr lang="fr-FR" smtClean="0"/>
              <a:t>03/11/2023</a:t>
            </a:fld>
            <a:endParaRPr lang="fr-FR"/>
          </a:p>
        </p:txBody>
      </p:sp>
      <p:sp>
        <p:nvSpPr>
          <p:cNvPr id="13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" y="4913243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Safran / C2-Restricted</a:t>
            </a:r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" y="4913244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 b="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  <p:sp>
        <p:nvSpPr>
          <p:cNvPr id="10" name="Rectangle 9"/>
          <p:cNvSpPr/>
          <p:nvPr/>
        </p:nvSpPr>
        <p:spPr bwMode="gray">
          <a:xfrm rot="16200000" flipH="1">
            <a:off x="-1680005" y="2184084"/>
            <a:ext cx="3925211" cy="61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6" name="Rectangle 15"/>
          <p:cNvSpPr/>
          <p:nvPr/>
        </p:nvSpPr>
        <p:spPr bwMode="gray">
          <a:xfrm>
            <a:off x="252000" y="252078"/>
            <a:ext cx="8640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7" name="Rectangle 16"/>
          <p:cNvSpPr/>
          <p:nvPr/>
        </p:nvSpPr>
        <p:spPr bwMode="gray">
          <a:xfrm rot="5400000">
            <a:off x="6898795" y="2184084"/>
            <a:ext cx="3925211" cy="61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8" name="Rectangle 17"/>
          <p:cNvSpPr/>
          <p:nvPr/>
        </p:nvSpPr>
        <p:spPr bwMode="gray">
          <a:xfrm rot="10800000">
            <a:off x="252000" y="4116069"/>
            <a:ext cx="8640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43085503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_image_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" y="735240"/>
            <a:ext cx="4392613" cy="3169628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55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672000" y="4321334"/>
            <a:ext cx="1800000" cy="720222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gray">
          <a:xfrm>
            <a:off x="287341" y="4961335"/>
            <a:ext cx="8569325" cy="183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sp>
        <p:nvSpPr>
          <p:cNvPr id="15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 rot="16200000">
            <a:off x="-168000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4572003" y="411289"/>
            <a:ext cx="4068763" cy="2196678"/>
          </a:xfrm>
        </p:spPr>
        <p:txBody>
          <a:bodyPr anchor="b" anchorCtr="0"/>
          <a:lstStyle>
            <a:lvl1pPr algn="l">
              <a:defRPr sz="1850" cap="all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cxnSp>
        <p:nvCxnSpPr>
          <p:cNvPr id="13" name="Connecteur droit 12"/>
          <p:cNvCxnSpPr/>
          <p:nvPr/>
        </p:nvCxnSpPr>
        <p:spPr bwMode="gray">
          <a:xfrm>
            <a:off x="4572000" y="2752620"/>
            <a:ext cx="216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4572000" y="2967316"/>
            <a:ext cx="4067238" cy="9362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2"/>
                </a:solidFill>
              </a:defRPr>
            </a:lvl1pPr>
          </a:lstStyle>
          <a:p>
            <a:fld id="{C786C59D-0D74-4C1A-9D76-8364D107B223}" type="datetime1">
              <a:rPr lang="fr-FR" smtClean="0"/>
              <a:t>03/11/2023</a:t>
            </a:fld>
            <a:endParaRPr lang="fr-FR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" y="4913243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Safran / C2-Restricted</a:t>
            </a:r>
          </a:p>
        </p:txBody>
      </p:sp>
      <p:sp>
        <p:nvSpPr>
          <p:cNvPr id="1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" y="4913244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 b="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52000" y="252078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8" name="Espace réservé du texte 13"/>
          <p:cNvSpPr>
            <a:spLocks noGrp="1"/>
          </p:cNvSpPr>
          <p:nvPr>
            <p:ph type="body" sz="quarter" idx="16" hasCustomPrompt="1"/>
          </p:nvPr>
        </p:nvSpPr>
        <p:spPr bwMode="gray">
          <a:xfrm rot="10800000">
            <a:off x="252000" y="4116069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 rot="5400000">
            <a:off x="689879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0765608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_image_cen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672000" y="4321334"/>
            <a:ext cx="1800000" cy="720222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gray">
          <a:xfrm>
            <a:off x="287341" y="4961335"/>
            <a:ext cx="8569325" cy="183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cxnSp>
        <p:nvCxnSpPr>
          <p:cNvPr id="14" name="Connecteur droit 13"/>
          <p:cNvCxnSpPr/>
          <p:nvPr/>
        </p:nvCxnSpPr>
        <p:spPr bwMode="gray">
          <a:xfrm>
            <a:off x="4464000" y="3913573"/>
            <a:ext cx="216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" y="4913243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Safran / C2-Restricted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" y="4913244"/>
            <a:ext cx="250826" cy="2318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 b="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  <p:sp>
        <p:nvSpPr>
          <p:cNvPr id="17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044000" y="2"/>
            <a:ext cx="7056000" cy="3060946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55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sp>
        <p:nvSpPr>
          <p:cNvPr id="16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 rot="16200000">
            <a:off x="-168000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1" name="Espace réservé du texte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52000" y="252078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2" name="Espace réservé du texte 13"/>
          <p:cNvSpPr>
            <a:spLocks noGrp="1"/>
          </p:cNvSpPr>
          <p:nvPr>
            <p:ph type="body" sz="quarter" idx="16" hasCustomPrompt="1"/>
          </p:nvPr>
        </p:nvSpPr>
        <p:spPr bwMode="gray">
          <a:xfrm rot="10800000">
            <a:off x="252000" y="4116069"/>
            <a:ext cx="8640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3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 rot="5400000">
            <a:off x="6898795" y="2184084"/>
            <a:ext cx="3925211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503241" y="3076757"/>
            <a:ext cx="8137525" cy="684287"/>
          </a:xfrm>
        </p:spPr>
        <p:txBody>
          <a:bodyPr anchor="b" anchorCtr="0"/>
          <a:lstStyle>
            <a:lvl1pPr algn="ctr">
              <a:defRPr sz="1850" cap="all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3312000" y="4011638"/>
            <a:ext cx="2520000" cy="25207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2"/>
                </a:solidFill>
              </a:defRPr>
            </a:lvl1pPr>
          </a:lstStyle>
          <a:p>
            <a:fld id="{1D359200-0BD7-410E-8C5D-4C99F4882633}" type="datetime1">
              <a:rPr lang="fr-FR" smtClean="0"/>
              <a:t>03/11/20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929702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B9C1BD4-2402-4571-9F04-505A7FE75A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1017588"/>
            <a:ext cx="8569324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600" b="1">
                <a:solidFill>
                  <a:schemeClr val="accent1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tx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DE2A36-88EC-4A13-9346-E7A65DB242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0607D16-1B92-3382-E419-3AFAAEA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41987739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_image_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0" y="0"/>
            <a:ext cx="899592" cy="879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5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50828" y="250901"/>
            <a:ext cx="4321175" cy="4158948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55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18BBCA07-F9C0-462F-ABE2-681CA3C74AC7}" type="datetime1">
              <a:rPr lang="fr-FR" smtClean="0"/>
              <a:t>03/11/2023</a:t>
            </a:fld>
            <a:endParaRPr lang="fr-FR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fr-FR"/>
              <a:t>Safran / C2-Restricted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  <p:sp>
        <p:nvSpPr>
          <p:cNvPr id="28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023302" y="1635630"/>
            <a:ext cx="3852862" cy="2485205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14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9" name="Espace réservé du texte 13"/>
          <p:cNvSpPr>
            <a:spLocks noGrp="1"/>
          </p:cNvSpPr>
          <p:nvPr>
            <p:ph type="body" sz="quarter" idx="23" hasCustomPrompt="1"/>
          </p:nvPr>
        </p:nvSpPr>
        <p:spPr bwMode="gray">
          <a:xfrm rot="16200000">
            <a:off x="2640117" y="2688239"/>
            <a:ext cx="3132967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0" name="Espace réservé du texte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176000" y="1152356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1" name="Espace réservé du texte 13"/>
          <p:cNvSpPr>
            <a:spLocks noGrp="1"/>
          </p:cNvSpPr>
          <p:nvPr>
            <p:ph type="body" sz="quarter" idx="25" hasCustomPrompt="1"/>
          </p:nvPr>
        </p:nvSpPr>
        <p:spPr bwMode="gray">
          <a:xfrm rot="10800000">
            <a:off x="4176000" y="4224104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6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850433" y="250901"/>
            <a:ext cx="585664" cy="1195569"/>
          </a:xfrm>
          <a:solidFill>
            <a:schemeClr val="bg1"/>
          </a:solidFill>
        </p:spPr>
        <p:txBody>
          <a:bodyPr wrap="none" lIns="36000" tIns="36000" rIns="36000" bIns="36000" anchor="b" anchorCtr="0">
            <a:spAutoFit/>
          </a:bodyPr>
          <a:lstStyle>
            <a:lvl1pPr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fr-FR" noProof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324637303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_image_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0" y="0"/>
            <a:ext cx="899592" cy="879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5" name="Espace réservé pour une image  1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572003" y="250901"/>
            <a:ext cx="4321175" cy="4158948"/>
          </a:xfrm>
          <a:solidFill>
            <a:schemeClr val="bg1">
              <a:lumMod val="95000"/>
            </a:schemeClr>
          </a:solidFill>
        </p:spPr>
        <p:txBody>
          <a:bodyPr lIns="360000" tIns="1080000" rIns="360000" anchor="ctr" anchorCtr="0"/>
          <a:lstStyle>
            <a:lvl1pPr marL="0" marR="0" indent="0" algn="ctr" defTabSz="914355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000" b="0"/>
            </a:lvl1pPr>
          </a:lstStyle>
          <a:p>
            <a:r>
              <a:rPr lang="fr-FR" noProof="0"/>
              <a:t>Sélectionner l’icône pour insérer une image, puis si besoin disposer l’image en arrière plan (Sélectionner l’image avec le bouton droit de la souris / Mettre à l’arrière plan)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FE02A05A-100A-4041-952A-7238CB417E45}" type="datetime1">
              <a:rPr lang="fr-FR" smtClean="0"/>
              <a:t>03/11/2023</a:t>
            </a:fld>
            <a:endParaRPr lang="fr-FR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fr-FR"/>
              <a:t>Safran / C2-Restricted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  <p:sp>
        <p:nvSpPr>
          <p:cNvPr id="16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99062" y="1631139"/>
            <a:ext cx="3852862" cy="2485205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None/>
              <a:defRPr sz="1400">
                <a:solidFill>
                  <a:schemeClr val="accent2"/>
                </a:solidFill>
              </a:defRPr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23" hasCustomPrompt="1"/>
          </p:nvPr>
        </p:nvSpPr>
        <p:spPr bwMode="gray">
          <a:xfrm rot="5400000">
            <a:off x="3370917" y="2688239"/>
            <a:ext cx="3132967" cy="61200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8" name="Espace réservé du texte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0" y="1152356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3"/>
          <p:cNvSpPr>
            <a:spLocks noGrp="1"/>
          </p:cNvSpPr>
          <p:nvPr>
            <p:ph type="body" sz="quarter" idx="25" hasCustomPrompt="1"/>
          </p:nvPr>
        </p:nvSpPr>
        <p:spPr bwMode="gray">
          <a:xfrm rot="10800000">
            <a:off x="0" y="4224103"/>
            <a:ext cx="4968000" cy="61219"/>
          </a:xfrm>
          <a:solidFill>
            <a:schemeClr val="accent1"/>
          </a:solidFill>
          <a:ln w="57150">
            <a:noFill/>
            <a:miter lim="800000"/>
          </a:ln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6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28000" y="250901"/>
            <a:ext cx="585664" cy="1195569"/>
          </a:xfrm>
          <a:solidFill>
            <a:schemeClr val="bg1"/>
          </a:solidFill>
        </p:spPr>
        <p:txBody>
          <a:bodyPr wrap="none" lIns="36000" tIns="36000" rIns="36000" bIns="36000" anchor="b" anchorCtr="0">
            <a:spAutoFit/>
          </a:bodyPr>
          <a:lstStyle>
            <a:lvl1pPr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fr-FR" noProof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24935816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defRPr sz="1350"/>
            </a:lvl1pPr>
            <a:lvl2pPr>
              <a:spcAft>
                <a:spcPts val="600"/>
              </a:spcAft>
              <a:defRPr sz="1050"/>
            </a:lvl2pPr>
            <a:lvl3pPr>
              <a:defRPr sz="1050"/>
            </a:lvl3pPr>
            <a:lvl4pPr>
              <a:defRPr sz="1050" baseline="0"/>
            </a:lvl4pPr>
            <a:lvl5pPr>
              <a:defRPr sz="1050"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 cap="all" baseline="0"/>
            </a:lvl1pPr>
          </a:lstStyle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7B0B62D-BB21-42AC-9407-CEDCFB583A4D}" type="datetime1">
              <a:rPr lang="fr-FR" smtClean="0"/>
              <a:t>03/11/20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sz="675"/>
            </a:lvl1pPr>
          </a:lstStyle>
          <a:p>
            <a:pPr algn="l"/>
            <a:r>
              <a:rPr lang="fr-FR"/>
              <a:t>Safran / C2-Restricted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4374159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imag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4463991" y="1132239"/>
            <a:ext cx="4429187" cy="3493578"/>
          </a:xfrm>
        </p:spPr>
        <p:txBody>
          <a:bodyPr/>
          <a:lstStyle>
            <a:lvl2pPr>
              <a:spcAft>
                <a:spcPts val="600"/>
              </a:spcAft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AFB8F6F-6205-475D-A9D5-264A744E1686}" type="datetime1">
              <a:rPr lang="fr-FR" smtClean="0"/>
              <a:t>03/11/20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Safran / C2-Restricted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  <p:sp>
        <p:nvSpPr>
          <p:cNvPr id="10" name="Espace réservé pour une image  16"/>
          <p:cNvSpPr>
            <a:spLocks noGrp="1"/>
          </p:cNvSpPr>
          <p:nvPr>
            <p:ph type="pic" sz="quarter" idx="14"/>
          </p:nvPr>
        </p:nvSpPr>
        <p:spPr bwMode="gray">
          <a:xfrm>
            <a:off x="554400" y="1224378"/>
            <a:ext cx="3708000" cy="2700834"/>
          </a:xfrm>
          <a:solidFill>
            <a:schemeClr val="bg1">
              <a:lumMod val="95000"/>
            </a:schemeClr>
          </a:solidFill>
          <a:ln w="57150">
            <a:solidFill>
              <a:schemeClr val="accent1"/>
            </a:solidFill>
            <a:miter lim="800000"/>
          </a:ln>
        </p:spPr>
        <p:txBody>
          <a:bodyPr lIns="360000" tIns="1080000" rIns="360000" anchor="ctr" anchorCtr="0"/>
          <a:lstStyle>
            <a:lvl1pPr algn="ctr">
              <a:defRPr sz="1000" b="0"/>
            </a:lvl1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102236293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gran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8EBB2E5-0257-4245-9BC9-FA29D113537E}" type="datetime1">
              <a:rPr lang="fr-FR" smtClean="0"/>
              <a:t>03/11/20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Safran / C2-Restricted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pour une image  16"/>
          <p:cNvSpPr>
            <a:spLocks noGrp="1"/>
          </p:cNvSpPr>
          <p:nvPr>
            <p:ph type="pic" sz="quarter" idx="15"/>
          </p:nvPr>
        </p:nvSpPr>
        <p:spPr bwMode="gray">
          <a:xfrm>
            <a:off x="554400" y="1224378"/>
            <a:ext cx="8280000" cy="3114961"/>
          </a:xfrm>
          <a:solidFill>
            <a:schemeClr val="bg1">
              <a:lumMod val="95000"/>
            </a:schemeClr>
          </a:solidFill>
          <a:ln w="57150">
            <a:solidFill>
              <a:schemeClr val="accent1"/>
            </a:solidFill>
            <a:miter lim="800000"/>
          </a:ln>
        </p:spPr>
        <p:txBody>
          <a:bodyPr lIns="360000" tIns="1080000" rIns="360000" anchor="ctr" anchorCtr="0"/>
          <a:lstStyle>
            <a:lvl1pPr algn="ctr">
              <a:defRPr sz="1000" b="0"/>
            </a:lvl1pPr>
          </a:lstStyle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97810068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F4413E-9516-4E96-909A-B148C7FB6D6F}" type="datetime1">
              <a:rPr lang="fr-FR" smtClean="0"/>
              <a:t>03/11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afran / C2-Restricted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3090" y="1718454"/>
            <a:ext cx="2157824" cy="1708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37659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D9DFED4-2005-4C78-ADEB-8C7CA50978BA}" type="datetime1">
              <a:rPr lang="fr-FR" smtClean="0"/>
              <a:t>03/11/20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Safran / C2-Restricted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39865" y="1132239"/>
            <a:ext cx="7453312" cy="3493578"/>
          </a:xfrm>
        </p:spPr>
        <p:txBody>
          <a:bodyPr/>
          <a:lstStyle>
            <a:lvl1pPr marL="0" indent="0">
              <a:buSzPct val="25000"/>
              <a:buFontTx/>
              <a:buBlip>
                <a:blip r:embed="rId2"/>
              </a:buBlip>
              <a:defRPr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noProof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116592418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43000" y="842032"/>
            <a:ext cx="6858000" cy="1791253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143000" y="2702362"/>
            <a:ext cx="6858000" cy="1242205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fr-FR"/>
              <a:t>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6B63C-602C-439A-917A-E16F9EC21EC9}" type="datetime1">
              <a:rPr lang="fr-FR" smtClean="0"/>
              <a:t>03/11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afran / C2-Restricted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306951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2pPr>
              <a:spcAft>
                <a:spcPts val="600"/>
              </a:spcAft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6A7B9AD-2F1E-429D-A50A-D29A40E77424}" type="datetime1">
              <a:rPr lang="fr-FR" smtClean="0"/>
              <a:t>03/11/2023</a:t>
            </a:fld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>
          <a:xfrm>
            <a:off x="503239" y="4805481"/>
            <a:ext cx="7164386" cy="144435"/>
          </a:xfrm>
        </p:spPr>
        <p:txBody>
          <a:bodyPr/>
          <a:lstStyle/>
          <a:p>
            <a:pPr algn="l"/>
            <a:r>
              <a:rPr lang="fr-FR"/>
              <a:t>Safran / C2-Restricted</a:t>
            </a:r>
          </a:p>
        </p:txBody>
      </p:sp>
    </p:spTree>
    <p:extLst>
      <p:ext uri="{BB962C8B-B14F-4D97-AF65-F5344CB8AC3E}">
        <p14:creationId xmlns:p14="http://schemas.microsoft.com/office/powerpoint/2010/main" val="281686963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2976" y="914880"/>
            <a:ext cx="4111033" cy="1791963"/>
          </a:xfrm>
        </p:spPr>
        <p:txBody>
          <a:bodyPr vert="horz" lIns="0" tIns="0" rIns="0" bIns="0" numCol="1" rtlCol="0" anchor="t" anchorCtr="0">
            <a:noAutofit/>
          </a:bodyPr>
          <a:lstStyle>
            <a:lvl1pPr marL="0" indent="0">
              <a:spcBef>
                <a:spcPts val="300"/>
              </a:spcBef>
              <a:spcAft>
                <a:spcPts val="0"/>
              </a:spcAft>
              <a:buNone/>
              <a:defRPr lang="fr-FR" sz="1100" cap="all" baseline="0" noProof="0" dirty="0" smtClean="0">
                <a:solidFill>
                  <a:schemeClr val="accent3"/>
                </a:solidFill>
              </a:defRPr>
            </a:lvl1pPr>
            <a:lvl2pPr>
              <a:spcBef>
                <a:spcPts val="300"/>
              </a:spcBef>
              <a:spcAft>
                <a:spcPts val="0"/>
              </a:spcAft>
              <a:defRPr lang="fr-FR" sz="1050" noProof="0" dirty="0" smtClean="0"/>
            </a:lvl2pPr>
            <a:lvl3pPr>
              <a:spcBef>
                <a:spcPts val="300"/>
              </a:spcBef>
              <a:spcAft>
                <a:spcPts val="0"/>
              </a:spcAft>
              <a:defRPr lang="fr-FR" sz="1050" noProof="0" dirty="0" smtClean="0"/>
            </a:lvl3pPr>
            <a:lvl4pPr>
              <a:spcBef>
                <a:spcPts val="300"/>
              </a:spcBef>
              <a:spcAft>
                <a:spcPts val="0"/>
              </a:spcAft>
              <a:defRPr lang="fr-FR" sz="800" baseline="0" noProof="0" dirty="0" smtClean="0"/>
            </a:lvl4pPr>
            <a:lvl5pPr>
              <a:spcBef>
                <a:spcPts val="300"/>
              </a:spcBef>
              <a:spcAft>
                <a:spcPts val="0"/>
              </a:spcAft>
              <a:defRPr lang="fr-FR" sz="800" noProof="0" dirty="0"/>
            </a:lvl5pPr>
          </a:lstStyle>
          <a:p>
            <a:pPr lvl="0"/>
            <a:r>
              <a:rPr lang="fr-FR" noProof="0"/>
              <a:t>Texte de niveau 1</a:t>
            </a:r>
          </a:p>
          <a:p>
            <a:pPr marL="171446" lvl="1" indent="-171446">
              <a:buFont typeface="Arial" charset="0"/>
              <a:buChar char="•"/>
            </a:pPr>
            <a:r>
              <a:rPr lang="fr-FR" noProof="0"/>
              <a:t>Texte de niveau 2</a:t>
            </a:r>
          </a:p>
          <a:p>
            <a:pPr marL="358766" lvl="2" indent="-131760">
              <a:tabLst/>
            </a:pPr>
            <a:r>
              <a:rPr lang="fr-FR" noProof="0"/>
              <a:t>Texte de niveau 3</a:t>
            </a:r>
          </a:p>
          <a:p>
            <a:pPr marL="538150" lvl="3" indent="-138110">
              <a:tabLst/>
            </a:pPr>
            <a:r>
              <a:rPr lang="fr-FR" noProof="0"/>
              <a:t>Texte de niveau 4</a:t>
            </a:r>
          </a:p>
          <a:p>
            <a:pPr marL="669908" lvl="4" indent="-142871">
              <a:tabLst/>
            </a:pPr>
            <a:r>
              <a:rPr lang="fr-FR" noProof="0"/>
              <a:t>Texte de niveau 5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>
          <a:xfrm>
            <a:off x="503238" y="411291"/>
            <a:ext cx="8389937" cy="362751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fr-FR" noProof="0"/>
              <a:t>NOM Thématique</a:t>
            </a:r>
            <a:endParaRPr lang="fr-FR"/>
          </a:p>
        </p:txBody>
      </p:sp>
      <p:sp>
        <p:nvSpPr>
          <p:cNvPr id="11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4818456" y="914880"/>
            <a:ext cx="4111033" cy="1791963"/>
          </a:xfrm>
        </p:spPr>
        <p:txBody>
          <a:bodyPr vert="horz" lIns="0" tIns="0" rIns="0" bIns="0" numCol="1" rtlCol="0" anchor="t" anchorCtr="0">
            <a:noAutofit/>
          </a:bodyPr>
          <a:lstStyle>
            <a:lvl1pPr marL="0" indent="0">
              <a:spcBef>
                <a:spcPts val="300"/>
              </a:spcBef>
              <a:spcAft>
                <a:spcPts val="0"/>
              </a:spcAft>
              <a:buNone/>
              <a:defRPr lang="fr-FR" sz="1100" cap="all" baseline="0" noProof="0" dirty="0" smtClean="0">
                <a:solidFill>
                  <a:schemeClr val="bg2"/>
                </a:solidFill>
              </a:defRPr>
            </a:lvl1pPr>
            <a:lvl2pPr>
              <a:spcBef>
                <a:spcPts val="300"/>
              </a:spcBef>
              <a:spcAft>
                <a:spcPts val="0"/>
              </a:spcAft>
              <a:defRPr lang="fr-FR" sz="1050" noProof="0" dirty="0" smtClean="0"/>
            </a:lvl2pPr>
            <a:lvl3pPr>
              <a:spcBef>
                <a:spcPts val="300"/>
              </a:spcBef>
              <a:spcAft>
                <a:spcPts val="0"/>
              </a:spcAft>
              <a:defRPr lang="fr-FR" sz="1050" noProof="0" dirty="0" smtClean="0"/>
            </a:lvl3pPr>
            <a:lvl4pPr>
              <a:spcBef>
                <a:spcPts val="300"/>
              </a:spcBef>
              <a:spcAft>
                <a:spcPts val="0"/>
              </a:spcAft>
              <a:defRPr lang="fr-FR" sz="800" baseline="0" noProof="0" dirty="0" smtClean="0"/>
            </a:lvl4pPr>
            <a:lvl5pPr>
              <a:spcBef>
                <a:spcPts val="300"/>
              </a:spcBef>
              <a:spcAft>
                <a:spcPts val="0"/>
              </a:spcAft>
              <a:defRPr lang="fr-FR" sz="800" noProof="0" dirty="0"/>
            </a:lvl5pPr>
          </a:lstStyle>
          <a:p>
            <a:pPr lvl="0"/>
            <a:r>
              <a:rPr lang="fr-FR" noProof="0"/>
              <a:t>Texte de niveau 1</a:t>
            </a:r>
          </a:p>
          <a:p>
            <a:pPr marL="171446" lvl="1" indent="-171446">
              <a:buFont typeface="Arial" charset="0"/>
              <a:buChar char="•"/>
            </a:pPr>
            <a:r>
              <a:rPr lang="fr-FR" noProof="0"/>
              <a:t>Texte de niveau 2</a:t>
            </a:r>
          </a:p>
          <a:p>
            <a:pPr marL="358766" lvl="2" indent="-131760">
              <a:tabLst/>
            </a:pPr>
            <a:r>
              <a:rPr lang="fr-FR" noProof="0"/>
              <a:t>Texte de niveau 3</a:t>
            </a:r>
          </a:p>
          <a:p>
            <a:pPr marL="538150" lvl="3" indent="-138110">
              <a:tabLst/>
            </a:pPr>
            <a:r>
              <a:rPr lang="fr-FR" noProof="0"/>
              <a:t>Texte de niveau 4</a:t>
            </a:r>
          </a:p>
          <a:p>
            <a:pPr marL="669908" lvl="4" indent="-142871">
              <a:tabLst/>
            </a:pPr>
            <a:r>
              <a:rPr lang="fr-FR" noProof="0"/>
              <a:t>Texte de niveau 5</a:t>
            </a:r>
          </a:p>
        </p:txBody>
      </p:sp>
      <p:sp>
        <p:nvSpPr>
          <p:cNvPr id="12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532976" y="2847682"/>
            <a:ext cx="4111033" cy="1791963"/>
          </a:xfrm>
        </p:spPr>
        <p:txBody>
          <a:bodyPr vert="horz" lIns="0" tIns="0" rIns="0" bIns="0" numCol="1" rtlCol="0" anchor="t" anchorCtr="0">
            <a:noAutofit/>
          </a:bodyPr>
          <a:lstStyle>
            <a:lvl1pPr marL="0" indent="0">
              <a:spcBef>
                <a:spcPts val="300"/>
              </a:spcBef>
              <a:spcAft>
                <a:spcPts val="0"/>
              </a:spcAft>
              <a:buNone/>
              <a:defRPr lang="fr-FR" sz="1100" cap="all" baseline="0" noProof="0" dirty="0" smtClean="0">
                <a:solidFill>
                  <a:schemeClr val="accent6"/>
                </a:solidFill>
              </a:defRPr>
            </a:lvl1pPr>
            <a:lvl2pPr>
              <a:spcBef>
                <a:spcPts val="300"/>
              </a:spcBef>
              <a:spcAft>
                <a:spcPts val="0"/>
              </a:spcAft>
              <a:defRPr lang="fr-FR" sz="1050" noProof="0" dirty="0" smtClean="0"/>
            </a:lvl2pPr>
            <a:lvl3pPr>
              <a:spcBef>
                <a:spcPts val="300"/>
              </a:spcBef>
              <a:spcAft>
                <a:spcPts val="0"/>
              </a:spcAft>
              <a:defRPr lang="fr-FR" sz="1050" noProof="0" dirty="0" smtClean="0"/>
            </a:lvl3pPr>
            <a:lvl4pPr>
              <a:spcBef>
                <a:spcPts val="300"/>
              </a:spcBef>
              <a:spcAft>
                <a:spcPts val="0"/>
              </a:spcAft>
              <a:defRPr lang="fr-FR" sz="800" baseline="0" noProof="0" dirty="0" smtClean="0"/>
            </a:lvl4pPr>
            <a:lvl5pPr>
              <a:spcBef>
                <a:spcPts val="300"/>
              </a:spcBef>
              <a:spcAft>
                <a:spcPts val="0"/>
              </a:spcAft>
              <a:defRPr lang="fr-FR" sz="800" noProof="0" dirty="0"/>
            </a:lvl5pPr>
          </a:lstStyle>
          <a:p>
            <a:pPr lvl="0"/>
            <a:r>
              <a:rPr lang="fr-FR" noProof="0"/>
              <a:t>Texte de niveau 1</a:t>
            </a:r>
          </a:p>
          <a:p>
            <a:pPr marL="171446" lvl="1" indent="-171446">
              <a:buFont typeface="Arial" charset="0"/>
              <a:buChar char="•"/>
            </a:pPr>
            <a:r>
              <a:rPr lang="fr-FR" noProof="0"/>
              <a:t>Texte de niveau 2</a:t>
            </a:r>
          </a:p>
          <a:p>
            <a:pPr marL="358766" lvl="2" indent="-131760">
              <a:tabLst/>
            </a:pPr>
            <a:r>
              <a:rPr lang="fr-FR" noProof="0"/>
              <a:t>Texte de niveau 3</a:t>
            </a:r>
          </a:p>
          <a:p>
            <a:pPr marL="538150" lvl="3" indent="-138110">
              <a:tabLst/>
            </a:pPr>
            <a:r>
              <a:rPr lang="fr-FR" noProof="0"/>
              <a:t>Texte de niveau 4</a:t>
            </a:r>
          </a:p>
          <a:p>
            <a:pPr marL="669908" lvl="4" indent="-142871">
              <a:tabLst/>
            </a:pPr>
            <a:r>
              <a:rPr lang="fr-FR" noProof="0"/>
              <a:t>Texte de niveau 5</a:t>
            </a:r>
          </a:p>
        </p:txBody>
      </p:sp>
      <p:sp>
        <p:nvSpPr>
          <p:cNvPr id="13" name="Espace réservé du contenu 2"/>
          <p:cNvSpPr>
            <a:spLocks noGrp="1"/>
          </p:cNvSpPr>
          <p:nvPr>
            <p:ph idx="15" hasCustomPrompt="1"/>
          </p:nvPr>
        </p:nvSpPr>
        <p:spPr bwMode="gray">
          <a:xfrm>
            <a:off x="4673744" y="2847682"/>
            <a:ext cx="4146730" cy="1791963"/>
          </a:xfrm>
          <a:solidFill>
            <a:schemeClr val="accent3">
              <a:lumMod val="40000"/>
              <a:lumOff val="60000"/>
            </a:schemeClr>
          </a:solidFill>
        </p:spPr>
        <p:txBody>
          <a:bodyPr vert="horz" lIns="0" tIns="0" rIns="0" bIns="0" numCol="2" rtlCol="0" anchor="t" anchorCtr="0">
            <a:noAutofit/>
          </a:bodyPr>
          <a:lstStyle>
            <a:lvl1pPr marL="0" indent="0">
              <a:spcBef>
                <a:spcPts val="300"/>
              </a:spcBef>
              <a:spcAft>
                <a:spcPts val="0"/>
              </a:spcAft>
              <a:buNone/>
              <a:defRPr lang="fr-FR" noProof="0" dirty="0" smtClean="0"/>
            </a:lvl1pPr>
            <a:lvl2pPr>
              <a:spcBef>
                <a:spcPts val="300"/>
              </a:spcBef>
              <a:spcAft>
                <a:spcPts val="0"/>
              </a:spcAft>
              <a:defRPr lang="fr-FR" noProof="0" dirty="0" smtClean="0"/>
            </a:lvl2pPr>
            <a:lvl3pPr>
              <a:spcBef>
                <a:spcPts val="300"/>
              </a:spcBef>
              <a:spcAft>
                <a:spcPts val="0"/>
              </a:spcAft>
              <a:defRPr lang="fr-FR" noProof="0" dirty="0" smtClean="0"/>
            </a:lvl3pPr>
            <a:lvl4pPr>
              <a:spcBef>
                <a:spcPts val="300"/>
              </a:spcBef>
              <a:spcAft>
                <a:spcPts val="0"/>
              </a:spcAft>
              <a:defRPr lang="fr-FR" baseline="0" noProof="0" dirty="0" smtClean="0"/>
            </a:lvl4pPr>
            <a:lvl5pPr>
              <a:spcBef>
                <a:spcPts val="300"/>
              </a:spcBef>
              <a:spcAft>
                <a:spcPts val="0"/>
              </a:spcAft>
              <a:defRPr lang="fr-FR" noProof="0" dirty="0"/>
            </a:lvl5pPr>
          </a:lstStyle>
          <a:p>
            <a:pPr lvl="0"/>
            <a:r>
              <a:rPr lang="fr-FR" noProof="0"/>
              <a:t>Visuels</a:t>
            </a:r>
          </a:p>
        </p:txBody>
      </p:sp>
      <p:sp>
        <p:nvSpPr>
          <p:cNvPr id="31" name="Espace réservé de la date 4"/>
          <p:cNvSpPr>
            <a:spLocks noGrp="1"/>
          </p:cNvSpPr>
          <p:nvPr>
            <p:ph type="dt" sz="half" idx="10"/>
          </p:nvPr>
        </p:nvSpPr>
        <p:spPr bwMode="gray">
          <a:xfrm>
            <a:off x="-1" y="4913242"/>
            <a:ext cx="503239" cy="231848"/>
          </a:xfrm>
        </p:spPr>
        <p:txBody>
          <a:bodyPr/>
          <a:lstStyle/>
          <a:p>
            <a:fld id="{9F070C45-F9E4-4A30-9FD8-8DB7288A68FF}" type="datetime1">
              <a:rPr lang="fr-FR" noProof="0" smtClean="0"/>
              <a:t>03/11/2023</a:t>
            </a:fld>
            <a:endParaRPr lang="en-US" noProof="0"/>
          </a:p>
        </p:txBody>
      </p:sp>
      <p:sp>
        <p:nvSpPr>
          <p:cNvPr id="32" name="Espace réservé du pied de page 5"/>
          <p:cNvSpPr>
            <a:spLocks noGrp="1"/>
          </p:cNvSpPr>
          <p:nvPr>
            <p:ph type="ftr" sz="quarter" idx="11"/>
          </p:nvPr>
        </p:nvSpPr>
        <p:spPr bwMode="gray">
          <a:xfrm>
            <a:off x="503239" y="4625816"/>
            <a:ext cx="7164386" cy="324100"/>
          </a:xfrm>
        </p:spPr>
        <p:txBody>
          <a:bodyPr/>
          <a:lstStyle/>
          <a:p>
            <a:pPr algn="l"/>
            <a:r>
              <a:rPr lang="en-US" noProof="0"/>
              <a:t>Safran / C2-Restricted</a:t>
            </a:r>
          </a:p>
        </p:txBody>
      </p:sp>
      <p:sp>
        <p:nvSpPr>
          <p:cNvPr id="33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>
          <a:xfrm>
            <a:off x="250826" y="4625817"/>
            <a:ext cx="235174" cy="324100"/>
          </a:xfrm>
        </p:spPr>
        <p:txBody>
          <a:bodyPr/>
          <a:lstStyle/>
          <a:p>
            <a:fld id="{733122C9-A0B9-462F-8757-0847AD287B63}" type="slidenum">
              <a:rPr lang="en-US" noProof="0" smtClean="0"/>
              <a:pPr/>
              <a:t>‹N°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098802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x2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B9C1BD4-2402-4571-9F04-505A7FE75A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7" y="1017588"/>
            <a:ext cx="4219705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600" b="1">
                <a:solidFill>
                  <a:schemeClr val="accent1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tx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2908127-A165-46B7-B40F-9C1A61E43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83B0D2BD-64EB-4133-9A53-E4F4DEB7B0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41953" y="1017588"/>
            <a:ext cx="4214709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600" b="1">
                <a:solidFill>
                  <a:schemeClr val="accent1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tx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269925D1-628C-E93F-77A3-4DE682A3F3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18923806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Righ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2BFB6794-DF54-4F15-843C-009B575836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41953" y="1017588"/>
            <a:ext cx="4214709" cy="36068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600" b="1">
                <a:solidFill>
                  <a:schemeClr val="accent1"/>
                </a:solidFill>
              </a:defRPr>
            </a:lvl1pPr>
            <a:lvl2pPr marL="355736" indent="-171450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400">
                <a:solidFill>
                  <a:schemeClr val="tx2"/>
                </a:solidFill>
              </a:defRPr>
            </a:lvl2pPr>
            <a:lvl3pPr marL="533400" indent="-171450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</a:defRPr>
            </a:lvl3pPr>
            <a:lvl4pPr marL="714375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4pPr>
            <a:lvl5pPr marL="895350" indent="-17145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here to add text 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938C6CF-C92A-455E-BDA8-BA47D4918DE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7339" y="1017588"/>
            <a:ext cx="4214710" cy="360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21182F8-39DD-402D-9322-090E37AF3E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here to add a title </a:t>
            </a:r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3B1F21EB-8662-8C41-3C0A-0F605CB04B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38600400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79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8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26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34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5" Type="http://schemas.openxmlformats.org/officeDocument/2006/relationships/slideLayout" Target="../slideLayouts/slideLayout43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2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image" Target="../media/image5.emf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1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50.xml"/><Relationship Id="rId9" Type="http://schemas.openxmlformats.org/officeDocument/2006/relationships/theme" Target="../theme/theme6.xml"/><Relationship Id="rId14" Type="http://schemas.openxmlformats.org/officeDocument/2006/relationships/image" Target="../media/image6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image" Target="../media/image6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image" Target="../media/image6.jpeg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>
            <a:extLst>
              <a:ext uri="{FF2B5EF4-FFF2-40B4-BE49-F238E27FC236}">
                <a16:creationId xmlns:a16="http://schemas.microsoft.com/office/drawing/2014/main" id="{47F4591A-171D-4B6F-91D4-CD89F6E4B046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rcRect/>
          <a:stretch/>
        </p:blipFill>
        <p:spPr>
          <a:xfrm>
            <a:off x="8037563" y="4837246"/>
            <a:ext cx="817635" cy="173146"/>
          </a:xfrm>
          <a:prstGeom prst="rect">
            <a:avLst/>
          </a:prstGeom>
          <a:noFill/>
        </p:spPr>
      </p:pic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8B519F6C-EBB1-41F2-9E05-DEE79643C5DB}"/>
              </a:ext>
            </a:extLst>
          </p:cNvPr>
          <p:cNvCxnSpPr>
            <a:cxnSpLocks/>
          </p:cNvCxnSpPr>
          <p:nvPr userDrawn="1"/>
        </p:nvCxnSpPr>
        <p:spPr>
          <a:xfrm>
            <a:off x="506984" y="4762165"/>
            <a:ext cx="0" cy="13849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>
            <a:extLst>
              <a:ext uri="{FF2B5EF4-FFF2-40B4-BE49-F238E27FC236}">
                <a16:creationId xmlns:a16="http://schemas.microsoft.com/office/drawing/2014/main" id="{7532A455-C781-4527-AD8C-3511FB0D154E}"/>
              </a:ext>
            </a:extLst>
          </p:cNvPr>
          <p:cNvSpPr txBox="1"/>
          <p:nvPr userDrawn="1"/>
        </p:nvSpPr>
        <p:spPr>
          <a:xfrm>
            <a:off x="287338" y="4913692"/>
            <a:ext cx="7107374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700" b="0" i="0" u="none" strike="noStrike" baseline="0">
                <a:solidFill>
                  <a:schemeClr val="bg2">
                    <a:lumMod val="60000"/>
                    <a:lumOff val="40000"/>
                  </a:schemeClr>
                </a:solidFill>
                <a:latin typeface="+mn-lt"/>
              </a:rPr>
              <a:t>This document and the information therein are the property of Safran. They must not be copied or communicated to a third party without the prior written authorization of Safran</a:t>
            </a:r>
            <a:endParaRPr lang="fr-FR" sz="1600">
              <a:solidFill>
                <a:schemeClr val="bg2">
                  <a:lumMod val="60000"/>
                  <a:lumOff val="40000"/>
                </a:schemeClr>
              </a:solidFill>
              <a:latin typeface="+mn-lt"/>
            </a:endParaRPr>
          </a:p>
        </p:txBody>
      </p:sp>
      <p:sp>
        <p:nvSpPr>
          <p:cNvPr id="20" name="Espace réservé du numéro de diapositive 13">
            <a:extLst>
              <a:ext uri="{FF2B5EF4-FFF2-40B4-BE49-F238E27FC236}">
                <a16:creationId xmlns:a16="http://schemas.microsoft.com/office/drawing/2014/main" id="{CD93E076-75DB-4427-A260-9445BE8C8B75}"/>
              </a:ext>
            </a:extLst>
          </p:cNvPr>
          <p:cNvSpPr txBox="1">
            <a:spLocks/>
          </p:cNvSpPr>
          <p:nvPr userDrawn="1"/>
        </p:nvSpPr>
        <p:spPr>
          <a:xfrm>
            <a:off x="300010" y="4769393"/>
            <a:ext cx="19075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1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E85CA73-2D89-4D6A-A923-B574D1DA086D}" type="slidenum">
              <a:rPr lang="fr-FR" sz="80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pPr/>
              <a:t>‹N°›</a:t>
            </a:fld>
            <a:endParaRPr lang="fr-FR" sz="80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B9383F94-4300-4F00-9605-92CC0B158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784" y="192338"/>
            <a:ext cx="8556653" cy="4270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here to add a title </a:t>
            </a:r>
            <a:endParaRPr lang="fr-FR"/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494B105B-2A3D-43D1-8E22-F916C197C990}"/>
              </a:ext>
            </a:extLst>
          </p:cNvPr>
          <p:cNvGrpSpPr/>
          <p:nvPr userDrawn="1"/>
        </p:nvGrpSpPr>
        <p:grpSpPr>
          <a:xfrm>
            <a:off x="295226" y="664592"/>
            <a:ext cx="995611" cy="72008"/>
            <a:chOff x="479376" y="980728"/>
            <a:chExt cx="995611" cy="72008"/>
          </a:xfrm>
        </p:grpSpPr>
        <p:cxnSp>
          <p:nvCxnSpPr>
            <p:cNvPr id="21" name="Connecteur droit 20">
              <a:extLst>
                <a:ext uri="{FF2B5EF4-FFF2-40B4-BE49-F238E27FC236}">
                  <a16:creationId xmlns:a16="http://schemas.microsoft.com/office/drawing/2014/main" id="{7B4C35C0-4DF7-499F-A0E9-DE22F8DE2F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</p:cxn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A032F39-BF54-4A07-A2E9-9CECCF93C9A6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33C5864-A815-9137-28E9-1104EAB284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  <p:sp>
        <p:nvSpPr>
          <p:cNvPr id="2" name="hc" descr="  "/>
          <p:cNvSpPr txBox="1"/>
          <p:nvPr userDrawn="1"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fr-FR" sz="850" b="0" i="0" u="none" baseline="0">
                <a:solidFill>
                  <a:srgbClr val="000000"/>
                </a:solidFill>
                <a:latin typeface="Microsoft Sans Serif" panose="020B0604020202020204" pitchFamily="34" charset="0"/>
              </a:rPr>
              <a:t>  </a:t>
            </a:r>
          </a:p>
        </p:txBody>
      </p:sp>
      <p:sp>
        <p:nvSpPr>
          <p:cNvPr id="4" name="fc" descr="  "/>
          <p:cNvSpPr txBox="1"/>
          <p:nvPr userDrawn="1"/>
        </p:nvSpPr>
        <p:spPr>
          <a:xfrm>
            <a:off x="0" y="4825047"/>
            <a:ext cx="9144000" cy="22313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fr-FR" sz="850" b="0" i="0" u="none" baseline="0">
                <a:solidFill>
                  <a:srgbClr val="000000"/>
                </a:solidFill>
                <a:latin typeface="Microsoft Sans Serif" panose="020B0604020202020204" pitchFamily="34" charset="0"/>
              </a:rPr>
              <a:t>  </a:t>
            </a:r>
          </a:p>
        </p:txBody>
      </p:sp>
      <p:sp>
        <p:nvSpPr>
          <p:cNvPr id="6" name="MSIPCMContentMarking" descr="{&quot;HashCode&quot;:-1484644562,&quot;Placement&quot;:&quot;Header&quot;,&quot;Top&quot;:0.0,&quot;Left&quot;:315.021423,&quot;SlideWidth&quot;:720,&quot;SlideHeight&quot;:405}"/>
          <p:cNvSpPr txBox="1"/>
          <p:nvPr userDrawn="1"/>
        </p:nvSpPr>
        <p:spPr>
          <a:xfrm>
            <a:off x="4000772" y="0"/>
            <a:ext cx="114245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FF8C00"/>
                </a:solidFill>
                <a:latin typeface="Calibri" panose="020F0502020204030204" pitchFamily="34" charset="0"/>
              </a:rPr>
              <a:t>C2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61878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82" r:id="rId2"/>
    <p:sldLayoutId id="2147483858" r:id="rId3"/>
    <p:sldLayoutId id="2147483916" r:id="rId4"/>
    <p:sldLayoutId id="2147483861" r:id="rId5"/>
    <p:sldLayoutId id="2147483835" r:id="rId6"/>
    <p:sldLayoutId id="2147483870" r:id="rId7"/>
    <p:sldLayoutId id="2147483877" r:id="rId8"/>
    <p:sldLayoutId id="2147483878" r:id="rId9"/>
    <p:sldLayoutId id="2147483879" r:id="rId10"/>
    <p:sldLayoutId id="2147483927" r:id="rId11"/>
    <p:sldLayoutId id="2147483851" r:id="rId12"/>
    <p:sldLayoutId id="2147483922" r:id="rId13"/>
    <p:sldLayoutId id="2147483928" r:id="rId14"/>
  </p:sldLayoutIdLst>
  <p:transition>
    <p:fade/>
  </p:transition>
  <p:hf sldNum="0" hdr="0" dt="0"/>
  <p:txStyles>
    <p:titleStyle>
      <a:lvl1pPr algn="l" defTabSz="915067" rtl="0" eaLnBrk="1" latinLnBrk="0" hangingPunct="1">
        <a:spcBef>
          <a:spcPct val="0"/>
        </a:spcBef>
        <a:buNone/>
        <a:defRPr sz="2200" b="0" i="0" kern="1200" cap="none" baseline="0">
          <a:solidFill>
            <a:schemeClr val="accent2"/>
          </a:solidFill>
          <a:latin typeface="+mj-lt"/>
          <a:ea typeface="+mj-ea"/>
          <a:cs typeface="Arial" pitchFamily="34" charset="0"/>
        </a:defRPr>
      </a:lvl1pPr>
    </p:titleStyle>
    <p:bodyStyle>
      <a:lvl1pPr marL="182698" indent="-182698" algn="l" defTabSz="915067" rtl="0" eaLnBrk="1" latinLnBrk="0" hangingPunct="1">
        <a:spcBef>
          <a:spcPts val="600"/>
        </a:spcBef>
        <a:buClr>
          <a:schemeClr val="accent1"/>
        </a:buClr>
        <a:buFont typeface="Wingdings" pitchFamily="2" charset="2"/>
        <a:buChar char="§"/>
        <a:defRPr sz="1400" i="0" kern="1200" baseline="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347914" indent="-163628" algn="l" defTabSz="915067" rtl="0" eaLnBrk="1" latinLnBrk="0" hangingPunct="1">
        <a:spcBef>
          <a:spcPts val="300"/>
        </a:spcBef>
        <a:buClr>
          <a:schemeClr val="bg2"/>
        </a:buClr>
        <a:buFont typeface="Wingdings" pitchFamily="2" charset="2"/>
        <a:buChar char="§"/>
        <a:defRPr sz="1199" i="0" kern="1200" baseline="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509954" indent="-166802" algn="l" defTabSz="915067" rtl="0" eaLnBrk="1" latinLnBrk="0" hangingPunct="1">
        <a:spcBef>
          <a:spcPts val="300"/>
        </a:spcBef>
        <a:buClr>
          <a:schemeClr val="bg2"/>
        </a:buClr>
        <a:buFont typeface="Wingdings" pitchFamily="2" charset="2"/>
        <a:buChar char="§"/>
        <a:defRPr sz="1100" i="0" kern="1200" baseline="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601359" indent="-228764" algn="l" defTabSz="915067" rtl="0" eaLnBrk="1" latinLnBrk="0" hangingPunct="1">
        <a:spcBef>
          <a:spcPct val="20000"/>
        </a:spcBef>
        <a:buFont typeface="Wingdings" pitchFamily="2" charset="2"/>
        <a:buChar char="§"/>
        <a:defRPr sz="1199" i="0" kern="1200">
          <a:solidFill>
            <a:schemeClr val="bg1"/>
          </a:solidFill>
          <a:latin typeface="+mj-lt"/>
          <a:ea typeface="+mn-ea"/>
          <a:cs typeface="Arial" pitchFamily="34" charset="0"/>
        </a:defRPr>
      </a:lvl4pPr>
      <a:lvl5pPr marL="2058887" indent="-228764" algn="l" defTabSz="915067" rtl="0" eaLnBrk="1" latinLnBrk="0" hangingPunct="1">
        <a:spcBef>
          <a:spcPct val="20000"/>
        </a:spcBef>
        <a:buFont typeface="Wingdings" pitchFamily="2" charset="2"/>
        <a:buChar char="§"/>
        <a:defRPr sz="1199" i="0" kern="1200">
          <a:solidFill>
            <a:schemeClr val="bg1"/>
          </a:solidFill>
          <a:latin typeface="+mj-lt"/>
          <a:ea typeface="+mn-ea"/>
          <a:cs typeface="Arial" pitchFamily="34" charset="0"/>
        </a:defRPr>
      </a:lvl5pPr>
      <a:lvl6pPr marL="2516420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3945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31483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9011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529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5067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259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30123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765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518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2716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60246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81" userDrawn="1">
          <p15:clr>
            <a:srgbClr val="F26B43"/>
          </p15:clr>
        </p15:guide>
        <p15:guide id="2" pos="5579" userDrawn="1">
          <p15:clr>
            <a:srgbClr val="F26B43"/>
          </p15:clr>
        </p15:guide>
        <p15:guide id="3" pos="181">
          <p15:clr>
            <a:srgbClr val="F26B43"/>
          </p15:clr>
        </p15:guide>
        <p15:guide id="4" orient="horz" pos="195">
          <p15:clr>
            <a:srgbClr val="F26B43"/>
          </p15:clr>
        </p15:guide>
        <p15:guide id="5" orient="horz" pos="3852">
          <p15:clr>
            <a:srgbClr val="F26B43"/>
          </p15:clr>
        </p15:guide>
        <p15:guide id="6" orient="horz" pos="285">
          <p15:clr>
            <a:srgbClr val="F26B43"/>
          </p15:clr>
        </p15:guide>
        <p15:guide id="8" pos="7491">
          <p15:clr>
            <a:srgbClr val="F26B43"/>
          </p15:clr>
        </p15:guide>
        <p15:guide id="9" pos="7391">
          <p15:clr>
            <a:srgbClr val="F26B43"/>
          </p15:clr>
        </p15:guide>
        <p15:guide id="10" orient="horz" pos="464" userDrawn="1">
          <p15:clr>
            <a:srgbClr val="F26B43"/>
          </p15:clr>
        </p15:guide>
        <p15:guide id="11" orient="horz" pos="2913" userDrawn="1">
          <p15:clr>
            <a:srgbClr val="F26B43"/>
          </p15:clr>
        </p15:guide>
        <p15:guide id="1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>
            <a:extLst>
              <a:ext uri="{FF2B5EF4-FFF2-40B4-BE49-F238E27FC236}">
                <a16:creationId xmlns:a16="http://schemas.microsoft.com/office/drawing/2014/main" id="{47F4591A-171D-4B6F-91D4-CD89F6E4B046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rcRect/>
          <a:stretch/>
        </p:blipFill>
        <p:spPr>
          <a:xfrm>
            <a:off x="8037563" y="4837246"/>
            <a:ext cx="817635" cy="173146"/>
          </a:xfrm>
          <a:prstGeom prst="rect">
            <a:avLst/>
          </a:prstGeom>
          <a:noFill/>
        </p:spPr>
      </p:pic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8B519F6C-EBB1-41F2-9E05-DEE79643C5DB}"/>
              </a:ext>
            </a:extLst>
          </p:cNvPr>
          <p:cNvCxnSpPr>
            <a:cxnSpLocks/>
          </p:cNvCxnSpPr>
          <p:nvPr userDrawn="1"/>
        </p:nvCxnSpPr>
        <p:spPr>
          <a:xfrm>
            <a:off x="506984" y="4762165"/>
            <a:ext cx="0" cy="13849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>
            <a:extLst>
              <a:ext uri="{FF2B5EF4-FFF2-40B4-BE49-F238E27FC236}">
                <a16:creationId xmlns:a16="http://schemas.microsoft.com/office/drawing/2014/main" id="{7532A455-C781-4527-AD8C-3511FB0D154E}"/>
              </a:ext>
            </a:extLst>
          </p:cNvPr>
          <p:cNvSpPr txBox="1"/>
          <p:nvPr userDrawn="1"/>
        </p:nvSpPr>
        <p:spPr>
          <a:xfrm>
            <a:off x="287338" y="4913692"/>
            <a:ext cx="7107374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700" b="0" i="0" u="none" strike="noStrike" baseline="0">
                <a:solidFill>
                  <a:schemeClr val="bg2">
                    <a:lumMod val="60000"/>
                    <a:lumOff val="40000"/>
                  </a:schemeClr>
                </a:solidFill>
                <a:latin typeface="+mn-lt"/>
              </a:rPr>
              <a:t>This document and the information therein are the property of Safran. They must not be copied or communicated to a third party without the prior written authorization of Safran</a:t>
            </a:r>
            <a:endParaRPr lang="fr-FR" sz="1600">
              <a:solidFill>
                <a:schemeClr val="bg2">
                  <a:lumMod val="60000"/>
                  <a:lumOff val="40000"/>
                </a:schemeClr>
              </a:solidFill>
              <a:latin typeface="+mn-lt"/>
            </a:endParaRPr>
          </a:p>
        </p:txBody>
      </p:sp>
      <p:sp>
        <p:nvSpPr>
          <p:cNvPr id="20" name="Espace réservé du numéro de diapositive 13">
            <a:extLst>
              <a:ext uri="{FF2B5EF4-FFF2-40B4-BE49-F238E27FC236}">
                <a16:creationId xmlns:a16="http://schemas.microsoft.com/office/drawing/2014/main" id="{CD93E076-75DB-4427-A260-9445BE8C8B75}"/>
              </a:ext>
            </a:extLst>
          </p:cNvPr>
          <p:cNvSpPr txBox="1">
            <a:spLocks/>
          </p:cNvSpPr>
          <p:nvPr userDrawn="1"/>
        </p:nvSpPr>
        <p:spPr>
          <a:xfrm>
            <a:off x="300010" y="4769393"/>
            <a:ext cx="19075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1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E85CA73-2D89-4D6A-A923-B574D1DA086D}" type="slidenum">
              <a:rPr lang="fr-FR" sz="80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pPr/>
              <a:t>‹N°›</a:t>
            </a:fld>
            <a:endParaRPr lang="fr-FR" sz="80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B9383F94-4300-4F00-9605-92CC0B158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784" y="192338"/>
            <a:ext cx="8556653" cy="4270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here to add a title </a:t>
            </a:r>
            <a:endParaRPr lang="fr-FR"/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494B105B-2A3D-43D1-8E22-F916C197C990}"/>
              </a:ext>
            </a:extLst>
          </p:cNvPr>
          <p:cNvGrpSpPr/>
          <p:nvPr userDrawn="1"/>
        </p:nvGrpSpPr>
        <p:grpSpPr>
          <a:xfrm>
            <a:off x="295226" y="664592"/>
            <a:ext cx="995611" cy="72008"/>
            <a:chOff x="479376" y="980728"/>
            <a:chExt cx="995611" cy="72008"/>
          </a:xfrm>
        </p:grpSpPr>
        <p:cxnSp>
          <p:nvCxnSpPr>
            <p:cNvPr id="21" name="Connecteur droit 20">
              <a:extLst>
                <a:ext uri="{FF2B5EF4-FFF2-40B4-BE49-F238E27FC236}">
                  <a16:creationId xmlns:a16="http://schemas.microsoft.com/office/drawing/2014/main" id="{7B4C35C0-4DF7-499F-A0E9-DE22F8DE2F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</p:cxn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A032F39-BF54-4A07-A2E9-9CECCF93C9A6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4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33C5864-A815-9137-28E9-1104EAB284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  <p:sp>
        <p:nvSpPr>
          <p:cNvPr id="2" name="hc" descr="  "/>
          <p:cNvSpPr txBox="1"/>
          <p:nvPr userDrawn="1"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fr-FR" sz="850" b="0" i="0" u="none" baseline="0">
                <a:solidFill>
                  <a:srgbClr val="000000"/>
                </a:solidFill>
                <a:latin typeface="Microsoft Sans Serif" panose="020B0604020202020204" pitchFamily="34" charset="0"/>
              </a:rPr>
              <a:t>  </a:t>
            </a:r>
          </a:p>
        </p:txBody>
      </p:sp>
      <p:sp>
        <p:nvSpPr>
          <p:cNvPr id="4" name="fc" descr="  "/>
          <p:cNvSpPr txBox="1"/>
          <p:nvPr userDrawn="1"/>
        </p:nvSpPr>
        <p:spPr>
          <a:xfrm>
            <a:off x="0" y="4825047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fr-FR" sz="850" b="0" i="0" u="none" baseline="0">
                <a:solidFill>
                  <a:srgbClr val="000000"/>
                </a:solidFill>
                <a:latin typeface="Microsoft Sans Serif" panose="020B0604020202020204" pitchFamily="34" charset="0"/>
              </a:rPr>
              <a:t>  </a:t>
            </a:r>
          </a:p>
        </p:txBody>
      </p:sp>
      <p:sp>
        <p:nvSpPr>
          <p:cNvPr id="6" name="MSIPCMContentMarking" descr="{&quot;HashCode&quot;:-1484644562,&quot;Placement&quot;:&quot;Header&quot;,&quot;Top&quot;:0.0,&quot;Left&quot;:315.021423,&quot;SlideWidth&quot;:720,&quot;SlideHeight&quot;:405}"/>
          <p:cNvSpPr txBox="1"/>
          <p:nvPr userDrawn="1"/>
        </p:nvSpPr>
        <p:spPr>
          <a:xfrm>
            <a:off x="4000772" y="0"/>
            <a:ext cx="114245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FF8C00"/>
                </a:solidFill>
                <a:latin typeface="Calibri" panose="020F0502020204030204" pitchFamily="34" charset="0"/>
              </a:rPr>
              <a:t>C2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66582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923" r:id="rId8"/>
  </p:sldLayoutIdLst>
  <p:transition>
    <p:fade/>
  </p:transition>
  <p:hf sldNum="0" hdr="0" dt="0"/>
  <p:txStyles>
    <p:titleStyle>
      <a:lvl1pPr algn="l" defTabSz="915067" rtl="0" eaLnBrk="1" latinLnBrk="0" hangingPunct="1">
        <a:spcBef>
          <a:spcPct val="0"/>
        </a:spcBef>
        <a:buNone/>
        <a:defRPr sz="2200" b="0" i="0" kern="1200" cap="none" baseline="0">
          <a:solidFill>
            <a:schemeClr val="accent2"/>
          </a:solidFill>
          <a:latin typeface="+mj-lt"/>
          <a:ea typeface="+mj-ea"/>
          <a:cs typeface="Arial" pitchFamily="34" charset="0"/>
        </a:defRPr>
      </a:lvl1pPr>
    </p:titleStyle>
    <p:bodyStyle>
      <a:lvl1pPr marL="182698" indent="-182698" algn="l" defTabSz="915067" rtl="0" eaLnBrk="1" latinLnBrk="0" hangingPunct="1">
        <a:spcBef>
          <a:spcPts val="600"/>
        </a:spcBef>
        <a:buClr>
          <a:schemeClr val="accent1"/>
        </a:buClr>
        <a:buFont typeface="Wingdings" pitchFamily="2" charset="2"/>
        <a:buChar char="§"/>
        <a:defRPr sz="1400" i="0" kern="1200" baseline="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347914" indent="-163628" algn="l" defTabSz="915067" rtl="0" eaLnBrk="1" latinLnBrk="0" hangingPunct="1">
        <a:spcBef>
          <a:spcPts val="300"/>
        </a:spcBef>
        <a:buClr>
          <a:schemeClr val="bg2"/>
        </a:buClr>
        <a:buFont typeface="Wingdings" pitchFamily="2" charset="2"/>
        <a:buChar char="§"/>
        <a:defRPr sz="1199" i="0" kern="1200" baseline="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509954" indent="-166802" algn="l" defTabSz="915067" rtl="0" eaLnBrk="1" latinLnBrk="0" hangingPunct="1">
        <a:spcBef>
          <a:spcPts val="300"/>
        </a:spcBef>
        <a:buClr>
          <a:schemeClr val="bg2"/>
        </a:buClr>
        <a:buFont typeface="Wingdings" pitchFamily="2" charset="2"/>
        <a:buChar char="§"/>
        <a:defRPr sz="1100" i="0" kern="1200" baseline="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601359" indent="-228764" algn="l" defTabSz="915067" rtl="0" eaLnBrk="1" latinLnBrk="0" hangingPunct="1">
        <a:spcBef>
          <a:spcPct val="20000"/>
        </a:spcBef>
        <a:buFont typeface="Wingdings" pitchFamily="2" charset="2"/>
        <a:buChar char="§"/>
        <a:defRPr sz="1199" i="0" kern="1200">
          <a:solidFill>
            <a:schemeClr val="bg1"/>
          </a:solidFill>
          <a:latin typeface="+mj-lt"/>
          <a:ea typeface="+mn-ea"/>
          <a:cs typeface="Arial" pitchFamily="34" charset="0"/>
        </a:defRPr>
      </a:lvl4pPr>
      <a:lvl5pPr marL="2058887" indent="-228764" algn="l" defTabSz="915067" rtl="0" eaLnBrk="1" latinLnBrk="0" hangingPunct="1">
        <a:spcBef>
          <a:spcPct val="20000"/>
        </a:spcBef>
        <a:buFont typeface="Wingdings" pitchFamily="2" charset="2"/>
        <a:buChar char="§"/>
        <a:defRPr sz="1199" i="0" kern="1200">
          <a:solidFill>
            <a:schemeClr val="bg1"/>
          </a:solidFill>
          <a:latin typeface="+mj-lt"/>
          <a:ea typeface="+mn-ea"/>
          <a:cs typeface="Arial" pitchFamily="34" charset="0"/>
        </a:defRPr>
      </a:lvl5pPr>
      <a:lvl6pPr marL="2516420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3945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31483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9011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529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5067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259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30123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765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518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2716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60246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81" userDrawn="1">
          <p15:clr>
            <a:srgbClr val="F26B43"/>
          </p15:clr>
        </p15:guide>
        <p15:guide id="2" pos="5579" userDrawn="1">
          <p15:clr>
            <a:srgbClr val="F26B43"/>
          </p15:clr>
        </p15:guide>
        <p15:guide id="3" pos="181">
          <p15:clr>
            <a:srgbClr val="F26B43"/>
          </p15:clr>
        </p15:guide>
        <p15:guide id="4" orient="horz" pos="195">
          <p15:clr>
            <a:srgbClr val="F26B43"/>
          </p15:clr>
        </p15:guide>
        <p15:guide id="5" orient="horz" pos="3852">
          <p15:clr>
            <a:srgbClr val="F26B43"/>
          </p15:clr>
        </p15:guide>
        <p15:guide id="6" orient="horz" pos="285">
          <p15:clr>
            <a:srgbClr val="F26B43"/>
          </p15:clr>
        </p15:guide>
        <p15:guide id="8" pos="7491">
          <p15:clr>
            <a:srgbClr val="F26B43"/>
          </p15:clr>
        </p15:guide>
        <p15:guide id="9" pos="7391">
          <p15:clr>
            <a:srgbClr val="F26B43"/>
          </p15:clr>
        </p15:guide>
        <p15:guide id="10" orient="horz" pos="464" userDrawn="1">
          <p15:clr>
            <a:srgbClr val="F26B43"/>
          </p15:clr>
        </p15:guide>
        <p15:guide id="11" orient="horz" pos="2913" userDrawn="1">
          <p15:clr>
            <a:srgbClr val="F26B43"/>
          </p15:clr>
        </p15:guide>
        <p15:guide id="1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>
            <a:extLst>
              <a:ext uri="{FF2B5EF4-FFF2-40B4-BE49-F238E27FC236}">
                <a16:creationId xmlns:a16="http://schemas.microsoft.com/office/drawing/2014/main" id="{47F4591A-171D-4B6F-91D4-CD89F6E4B046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rcRect/>
          <a:stretch/>
        </p:blipFill>
        <p:spPr>
          <a:xfrm>
            <a:off x="8037563" y="4837246"/>
            <a:ext cx="817635" cy="173146"/>
          </a:xfrm>
          <a:prstGeom prst="rect">
            <a:avLst/>
          </a:prstGeom>
          <a:noFill/>
        </p:spPr>
      </p:pic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8B519F6C-EBB1-41F2-9E05-DEE79643C5DB}"/>
              </a:ext>
            </a:extLst>
          </p:cNvPr>
          <p:cNvCxnSpPr>
            <a:cxnSpLocks/>
          </p:cNvCxnSpPr>
          <p:nvPr userDrawn="1"/>
        </p:nvCxnSpPr>
        <p:spPr>
          <a:xfrm>
            <a:off x="506984" y="4762165"/>
            <a:ext cx="0" cy="13849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>
            <a:extLst>
              <a:ext uri="{FF2B5EF4-FFF2-40B4-BE49-F238E27FC236}">
                <a16:creationId xmlns:a16="http://schemas.microsoft.com/office/drawing/2014/main" id="{7532A455-C781-4527-AD8C-3511FB0D154E}"/>
              </a:ext>
            </a:extLst>
          </p:cNvPr>
          <p:cNvSpPr txBox="1"/>
          <p:nvPr userDrawn="1"/>
        </p:nvSpPr>
        <p:spPr>
          <a:xfrm>
            <a:off x="287338" y="4913692"/>
            <a:ext cx="7107374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700" b="0" i="0" u="none" strike="noStrike" baseline="0">
                <a:solidFill>
                  <a:schemeClr val="bg2">
                    <a:lumMod val="60000"/>
                    <a:lumOff val="40000"/>
                  </a:schemeClr>
                </a:solidFill>
                <a:latin typeface="+mn-lt"/>
              </a:rPr>
              <a:t>This document and the information therein are the property of Safran. They must not be copied or communicated to a third party without the prior written authorization of Safran</a:t>
            </a:r>
            <a:endParaRPr lang="fr-FR" sz="1600">
              <a:solidFill>
                <a:schemeClr val="bg2">
                  <a:lumMod val="60000"/>
                  <a:lumOff val="40000"/>
                </a:schemeClr>
              </a:solidFill>
              <a:latin typeface="+mn-lt"/>
            </a:endParaRPr>
          </a:p>
        </p:txBody>
      </p:sp>
      <p:sp>
        <p:nvSpPr>
          <p:cNvPr id="20" name="Espace réservé du numéro de diapositive 13">
            <a:extLst>
              <a:ext uri="{FF2B5EF4-FFF2-40B4-BE49-F238E27FC236}">
                <a16:creationId xmlns:a16="http://schemas.microsoft.com/office/drawing/2014/main" id="{CD93E076-75DB-4427-A260-9445BE8C8B75}"/>
              </a:ext>
            </a:extLst>
          </p:cNvPr>
          <p:cNvSpPr txBox="1">
            <a:spLocks/>
          </p:cNvSpPr>
          <p:nvPr userDrawn="1"/>
        </p:nvSpPr>
        <p:spPr>
          <a:xfrm>
            <a:off x="300010" y="4769393"/>
            <a:ext cx="19075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1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E85CA73-2D89-4D6A-A923-B574D1DA086D}" type="slidenum">
              <a:rPr lang="fr-FR" sz="80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pPr/>
              <a:t>‹N°›</a:t>
            </a:fld>
            <a:endParaRPr lang="fr-FR" sz="80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B9383F94-4300-4F00-9605-92CC0B158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784" y="192338"/>
            <a:ext cx="8556653" cy="4270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here to add a title </a:t>
            </a:r>
            <a:endParaRPr lang="fr-FR"/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494B105B-2A3D-43D1-8E22-F916C197C990}"/>
              </a:ext>
            </a:extLst>
          </p:cNvPr>
          <p:cNvGrpSpPr/>
          <p:nvPr userDrawn="1"/>
        </p:nvGrpSpPr>
        <p:grpSpPr>
          <a:xfrm>
            <a:off x="295226" y="664592"/>
            <a:ext cx="995611" cy="72008"/>
            <a:chOff x="479376" y="980728"/>
            <a:chExt cx="995611" cy="72008"/>
          </a:xfrm>
        </p:grpSpPr>
        <p:cxnSp>
          <p:nvCxnSpPr>
            <p:cNvPr id="21" name="Connecteur droit 20">
              <a:extLst>
                <a:ext uri="{FF2B5EF4-FFF2-40B4-BE49-F238E27FC236}">
                  <a16:creationId xmlns:a16="http://schemas.microsoft.com/office/drawing/2014/main" id="{7B4C35C0-4DF7-499F-A0E9-DE22F8DE2F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rgbClr val="FF7800"/>
              </a:solidFill>
              <a:prstDash val="solid"/>
              <a:miter lim="800000"/>
            </a:ln>
            <a:effectLst/>
          </p:spPr>
        </p:cxn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A032F39-BF54-4A07-A2E9-9CECCF93C9A6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rgbClr val="FFB600"/>
                </a:gs>
                <a:gs pos="100000">
                  <a:srgbClr val="FF7800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33C5864-A815-9137-28E9-1104EAB284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  <p:sp>
        <p:nvSpPr>
          <p:cNvPr id="2" name="hc" descr="  "/>
          <p:cNvSpPr txBox="1"/>
          <p:nvPr userDrawn="1"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fr-FR" sz="850" b="0" i="0" u="none" baseline="0">
                <a:solidFill>
                  <a:srgbClr val="000000"/>
                </a:solidFill>
                <a:latin typeface="Microsoft Sans Serif" panose="020B0604020202020204" pitchFamily="34" charset="0"/>
              </a:rPr>
              <a:t>  </a:t>
            </a:r>
          </a:p>
        </p:txBody>
      </p:sp>
      <p:sp>
        <p:nvSpPr>
          <p:cNvPr id="4" name="fc" descr="  "/>
          <p:cNvSpPr txBox="1"/>
          <p:nvPr userDrawn="1"/>
        </p:nvSpPr>
        <p:spPr>
          <a:xfrm>
            <a:off x="0" y="4825047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fr-FR" sz="850" b="0" i="0" u="none" baseline="0">
                <a:solidFill>
                  <a:srgbClr val="000000"/>
                </a:solidFill>
                <a:latin typeface="Microsoft Sans Serif" panose="020B0604020202020204" pitchFamily="34" charset="0"/>
              </a:rPr>
              <a:t>  </a:t>
            </a:r>
          </a:p>
        </p:txBody>
      </p:sp>
      <p:sp>
        <p:nvSpPr>
          <p:cNvPr id="6" name="MSIPCMContentMarking" descr="{&quot;HashCode&quot;:-1484644562,&quot;Placement&quot;:&quot;Header&quot;,&quot;Top&quot;:0.0,&quot;Left&quot;:315.021423,&quot;SlideWidth&quot;:720,&quot;SlideHeight&quot;:405}"/>
          <p:cNvSpPr txBox="1"/>
          <p:nvPr userDrawn="1"/>
        </p:nvSpPr>
        <p:spPr>
          <a:xfrm>
            <a:off x="4000772" y="0"/>
            <a:ext cx="114245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FF8C00"/>
                </a:solidFill>
                <a:latin typeface="Calibri" panose="020F0502020204030204" pitchFamily="34" charset="0"/>
              </a:rPr>
              <a:t>C2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76540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24" r:id="rId8"/>
  </p:sldLayoutIdLst>
  <p:transition>
    <p:fade/>
  </p:transition>
  <p:hf sldNum="0" hdr="0" dt="0"/>
  <p:txStyles>
    <p:titleStyle>
      <a:lvl1pPr algn="l" defTabSz="915067" rtl="0" eaLnBrk="1" latinLnBrk="0" hangingPunct="1">
        <a:spcBef>
          <a:spcPct val="0"/>
        </a:spcBef>
        <a:buNone/>
        <a:defRPr sz="2200" b="0" i="0" kern="1200" cap="none" baseline="0">
          <a:solidFill>
            <a:schemeClr val="accent2"/>
          </a:solidFill>
          <a:latin typeface="+mj-lt"/>
          <a:ea typeface="+mj-ea"/>
          <a:cs typeface="Arial" pitchFamily="34" charset="0"/>
        </a:defRPr>
      </a:lvl1pPr>
    </p:titleStyle>
    <p:bodyStyle>
      <a:lvl1pPr marL="182698" indent="-182698" algn="l" defTabSz="915067" rtl="0" eaLnBrk="1" latinLnBrk="0" hangingPunct="1">
        <a:spcBef>
          <a:spcPts val="600"/>
        </a:spcBef>
        <a:buClr>
          <a:schemeClr val="accent1"/>
        </a:buClr>
        <a:buFont typeface="Wingdings" pitchFamily="2" charset="2"/>
        <a:buChar char="§"/>
        <a:defRPr sz="1400" i="0" kern="1200" baseline="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347914" indent="-163628" algn="l" defTabSz="915067" rtl="0" eaLnBrk="1" latinLnBrk="0" hangingPunct="1">
        <a:spcBef>
          <a:spcPts val="300"/>
        </a:spcBef>
        <a:buClr>
          <a:schemeClr val="bg2"/>
        </a:buClr>
        <a:buFont typeface="Wingdings" pitchFamily="2" charset="2"/>
        <a:buChar char="§"/>
        <a:defRPr sz="1199" i="0" kern="1200" baseline="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509954" indent="-166802" algn="l" defTabSz="915067" rtl="0" eaLnBrk="1" latinLnBrk="0" hangingPunct="1">
        <a:spcBef>
          <a:spcPts val="300"/>
        </a:spcBef>
        <a:buClr>
          <a:schemeClr val="bg2"/>
        </a:buClr>
        <a:buFont typeface="Wingdings" pitchFamily="2" charset="2"/>
        <a:buChar char="§"/>
        <a:defRPr sz="1100" i="0" kern="1200" baseline="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601359" indent="-228764" algn="l" defTabSz="915067" rtl="0" eaLnBrk="1" latinLnBrk="0" hangingPunct="1">
        <a:spcBef>
          <a:spcPct val="20000"/>
        </a:spcBef>
        <a:buFont typeface="Wingdings" pitchFamily="2" charset="2"/>
        <a:buChar char="§"/>
        <a:defRPr sz="1199" i="0" kern="1200">
          <a:solidFill>
            <a:schemeClr val="bg1"/>
          </a:solidFill>
          <a:latin typeface="+mj-lt"/>
          <a:ea typeface="+mn-ea"/>
          <a:cs typeface="Arial" pitchFamily="34" charset="0"/>
        </a:defRPr>
      </a:lvl4pPr>
      <a:lvl5pPr marL="2058887" indent="-228764" algn="l" defTabSz="915067" rtl="0" eaLnBrk="1" latinLnBrk="0" hangingPunct="1">
        <a:spcBef>
          <a:spcPct val="20000"/>
        </a:spcBef>
        <a:buFont typeface="Wingdings" pitchFamily="2" charset="2"/>
        <a:buChar char="§"/>
        <a:defRPr sz="1199" i="0" kern="1200">
          <a:solidFill>
            <a:schemeClr val="bg1"/>
          </a:solidFill>
          <a:latin typeface="+mj-lt"/>
          <a:ea typeface="+mn-ea"/>
          <a:cs typeface="Arial" pitchFamily="34" charset="0"/>
        </a:defRPr>
      </a:lvl5pPr>
      <a:lvl6pPr marL="2516420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3945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31483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9011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529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5067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259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30123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765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518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2716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60246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81" userDrawn="1">
          <p15:clr>
            <a:srgbClr val="F26B43"/>
          </p15:clr>
        </p15:guide>
        <p15:guide id="2" pos="5579" userDrawn="1">
          <p15:clr>
            <a:srgbClr val="F26B43"/>
          </p15:clr>
        </p15:guide>
        <p15:guide id="3" pos="181">
          <p15:clr>
            <a:srgbClr val="F26B43"/>
          </p15:clr>
        </p15:guide>
        <p15:guide id="4" orient="horz" pos="195">
          <p15:clr>
            <a:srgbClr val="F26B43"/>
          </p15:clr>
        </p15:guide>
        <p15:guide id="5" orient="horz" pos="3852">
          <p15:clr>
            <a:srgbClr val="F26B43"/>
          </p15:clr>
        </p15:guide>
        <p15:guide id="6" orient="horz" pos="285">
          <p15:clr>
            <a:srgbClr val="F26B43"/>
          </p15:clr>
        </p15:guide>
        <p15:guide id="8" pos="7491">
          <p15:clr>
            <a:srgbClr val="F26B43"/>
          </p15:clr>
        </p15:guide>
        <p15:guide id="9" pos="7391">
          <p15:clr>
            <a:srgbClr val="F26B43"/>
          </p15:clr>
        </p15:guide>
        <p15:guide id="10" orient="horz" pos="464" userDrawn="1">
          <p15:clr>
            <a:srgbClr val="F26B43"/>
          </p15:clr>
        </p15:guide>
        <p15:guide id="11" orient="horz" pos="2913" userDrawn="1">
          <p15:clr>
            <a:srgbClr val="F26B43"/>
          </p15:clr>
        </p15:guide>
        <p15:guide id="12" pos="288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>
            <a:extLst>
              <a:ext uri="{FF2B5EF4-FFF2-40B4-BE49-F238E27FC236}">
                <a16:creationId xmlns:a16="http://schemas.microsoft.com/office/drawing/2014/main" id="{47F4591A-171D-4B6F-91D4-CD89F6E4B046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rcRect/>
          <a:stretch/>
        </p:blipFill>
        <p:spPr>
          <a:xfrm>
            <a:off x="8037563" y="4837246"/>
            <a:ext cx="817635" cy="173146"/>
          </a:xfrm>
          <a:prstGeom prst="rect">
            <a:avLst/>
          </a:prstGeom>
          <a:noFill/>
        </p:spPr>
      </p:pic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8B519F6C-EBB1-41F2-9E05-DEE79643C5DB}"/>
              </a:ext>
            </a:extLst>
          </p:cNvPr>
          <p:cNvCxnSpPr>
            <a:cxnSpLocks/>
          </p:cNvCxnSpPr>
          <p:nvPr userDrawn="1"/>
        </p:nvCxnSpPr>
        <p:spPr>
          <a:xfrm>
            <a:off x="506984" y="4762165"/>
            <a:ext cx="0" cy="13849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>
            <a:extLst>
              <a:ext uri="{FF2B5EF4-FFF2-40B4-BE49-F238E27FC236}">
                <a16:creationId xmlns:a16="http://schemas.microsoft.com/office/drawing/2014/main" id="{7532A455-C781-4527-AD8C-3511FB0D154E}"/>
              </a:ext>
            </a:extLst>
          </p:cNvPr>
          <p:cNvSpPr txBox="1"/>
          <p:nvPr userDrawn="1"/>
        </p:nvSpPr>
        <p:spPr>
          <a:xfrm>
            <a:off x="287338" y="4913692"/>
            <a:ext cx="7107374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700" b="0" i="0" u="none" strike="noStrike" baseline="0">
                <a:solidFill>
                  <a:schemeClr val="bg2">
                    <a:lumMod val="60000"/>
                    <a:lumOff val="40000"/>
                  </a:schemeClr>
                </a:solidFill>
                <a:latin typeface="+mn-lt"/>
              </a:rPr>
              <a:t>This document and the information therein are the property of Safran. They must not be copied or communicated to a third party without the prior written authorization of Safran</a:t>
            </a:r>
            <a:endParaRPr lang="fr-FR" sz="1600">
              <a:solidFill>
                <a:schemeClr val="bg2">
                  <a:lumMod val="60000"/>
                  <a:lumOff val="40000"/>
                </a:schemeClr>
              </a:solidFill>
              <a:latin typeface="+mn-lt"/>
            </a:endParaRPr>
          </a:p>
        </p:txBody>
      </p:sp>
      <p:sp>
        <p:nvSpPr>
          <p:cNvPr id="20" name="Espace réservé du numéro de diapositive 13">
            <a:extLst>
              <a:ext uri="{FF2B5EF4-FFF2-40B4-BE49-F238E27FC236}">
                <a16:creationId xmlns:a16="http://schemas.microsoft.com/office/drawing/2014/main" id="{CD93E076-75DB-4427-A260-9445BE8C8B75}"/>
              </a:ext>
            </a:extLst>
          </p:cNvPr>
          <p:cNvSpPr txBox="1">
            <a:spLocks/>
          </p:cNvSpPr>
          <p:nvPr userDrawn="1"/>
        </p:nvSpPr>
        <p:spPr>
          <a:xfrm>
            <a:off x="300010" y="4769393"/>
            <a:ext cx="19075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1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E85CA73-2D89-4D6A-A923-B574D1DA086D}" type="slidenum">
              <a:rPr lang="fr-FR" sz="80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pPr/>
              <a:t>‹N°›</a:t>
            </a:fld>
            <a:endParaRPr lang="fr-FR" sz="80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B9383F94-4300-4F00-9605-92CC0B158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784" y="192338"/>
            <a:ext cx="8556653" cy="4270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here to add a title </a:t>
            </a:r>
            <a:endParaRPr lang="fr-FR"/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494B105B-2A3D-43D1-8E22-F916C197C990}"/>
              </a:ext>
            </a:extLst>
          </p:cNvPr>
          <p:cNvGrpSpPr/>
          <p:nvPr userDrawn="1"/>
        </p:nvGrpSpPr>
        <p:grpSpPr>
          <a:xfrm>
            <a:off x="295226" y="664592"/>
            <a:ext cx="995611" cy="72008"/>
            <a:chOff x="479376" y="980728"/>
            <a:chExt cx="995611" cy="72008"/>
          </a:xfrm>
        </p:grpSpPr>
        <p:cxnSp>
          <p:nvCxnSpPr>
            <p:cNvPr id="21" name="Connecteur droit 20">
              <a:extLst>
                <a:ext uri="{FF2B5EF4-FFF2-40B4-BE49-F238E27FC236}">
                  <a16:creationId xmlns:a16="http://schemas.microsoft.com/office/drawing/2014/main" id="{7B4C35C0-4DF7-499F-A0E9-DE22F8DE2F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rgbClr val="00491E"/>
              </a:solidFill>
              <a:prstDash val="solid"/>
              <a:miter lim="800000"/>
            </a:ln>
            <a:effectLst/>
          </p:spPr>
        </p:cxn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A032F39-BF54-4A07-A2E9-9CECCF93C9A6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rgbClr val="2CC84D"/>
                </a:gs>
                <a:gs pos="100000">
                  <a:srgbClr val="00491E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33C5864-A815-9137-28E9-1104EAB284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  <p:sp>
        <p:nvSpPr>
          <p:cNvPr id="2" name="hc" descr="  "/>
          <p:cNvSpPr txBox="1"/>
          <p:nvPr userDrawn="1"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fr-FR" sz="850" b="0" i="0" u="none" baseline="0">
                <a:solidFill>
                  <a:srgbClr val="000000"/>
                </a:solidFill>
                <a:latin typeface="Microsoft Sans Serif" panose="020B0604020202020204" pitchFamily="34" charset="0"/>
              </a:rPr>
              <a:t>  </a:t>
            </a:r>
          </a:p>
        </p:txBody>
      </p:sp>
      <p:sp>
        <p:nvSpPr>
          <p:cNvPr id="4" name="fc" descr="  "/>
          <p:cNvSpPr txBox="1"/>
          <p:nvPr userDrawn="1"/>
        </p:nvSpPr>
        <p:spPr>
          <a:xfrm>
            <a:off x="0" y="4825047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fr-FR" sz="850" b="0" i="0" u="none" baseline="0">
                <a:solidFill>
                  <a:srgbClr val="000000"/>
                </a:solidFill>
                <a:latin typeface="Microsoft Sans Serif" panose="020B0604020202020204" pitchFamily="34" charset="0"/>
              </a:rPr>
              <a:t>  </a:t>
            </a:r>
          </a:p>
        </p:txBody>
      </p:sp>
      <p:sp>
        <p:nvSpPr>
          <p:cNvPr id="6" name="MSIPCMContentMarking" descr="{&quot;HashCode&quot;:-1484644562,&quot;Placement&quot;:&quot;Header&quot;,&quot;Top&quot;:0.0,&quot;Left&quot;:315.021423,&quot;SlideWidth&quot;:720,&quot;SlideHeight&quot;:405}"/>
          <p:cNvSpPr txBox="1"/>
          <p:nvPr userDrawn="1"/>
        </p:nvSpPr>
        <p:spPr>
          <a:xfrm>
            <a:off x="4000772" y="0"/>
            <a:ext cx="114245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FF8C00"/>
                </a:solidFill>
                <a:latin typeface="Calibri" panose="020F0502020204030204" pitchFamily="34" charset="0"/>
              </a:rPr>
              <a:t>C2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79869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03" r:id="rId2"/>
    <p:sldLayoutId id="2147483904" r:id="rId3"/>
    <p:sldLayoutId id="2147483905" r:id="rId4"/>
    <p:sldLayoutId id="2147483906" r:id="rId5"/>
    <p:sldLayoutId id="2147483907" r:id="rId6"/>
    <p:sldLayoutId id="2147483908" r:id="rId7"/>
    <p:sldLayoutId id="2147483925" r:id="rId8"/>
  </p:sldLayoutIdLst>
  <p:transition>
    <p:fade/>
  </p:transition>
  <p:hf sldNum="0" hdr="0" dt="0"/>
  <p:txStyles>
    <p:titleStyle>
      <a:lvl1pPr algn="l" defTabSz="915067" rtl="0" eaLnBrk="1" latinLnBrk="0" hangingPunct="1">
        <a:spcBef>
          <a:spcPct val="0"/>
        </a:spcBef>
        <a:buNone/>
        <a:defRPr sz="2200" b="0" i="0" kern="1200" cap="none" baseline="0">
          <a:solidFill>
            <a:schemeClr val="accent2"/>
          </a:solidFill>
          <a:latin typeface="+mj-lt"/>
          <a:ea typeface="+mj-ea"/>
          <a:cs typeface="Arial" pitchFamily="34" charset="0"/>
        </a:defRPr>
      </a:lvl1pPr>
    </p:titleStyle>
    <p:bodyStyle>
      <a:lvl1pPr marL="182698" indent="-182698" algn="l" defTabSz="915067" rtl="0" eaLnBrk="1" latinLnBrk="0" hangingPunct="1">
        <a:spcBef>
          <a:spcPts val="600"/>
        </a:spcBef>
        <a:buClr>
          <a:schemeClr val="accent1"/>
        </a:buClr>
        <a:buFont typeface="Wingdings" pitchFamily="2" charset="2"/>
        <a:buChar char="§"/>
        <a:defRPr sz="1400" i="0" kern="1200" baseline="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347914" indent="-163628" algn="l" defTabSz="915067" rtl="0" eaLnBrk="1" latinLnBrk="0" hangingPunct="1">
        <a:spcBef>
          <a:spcPts val="300"/>
        </a:spcBef>
        <a:buClr>
          <a:schemeClr val="bg2"/>
        </a:buClr>
        <a:buFont typeface="Wingdings" pitchFamily="2" charset="2"/>
        <a:buChar char="§"/>
        <a:defRPr sz="1199" i="0" kern="1200" baseline="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509954" indent="-166802" algn="l" defTabSz="915067" rtl="0" eaLnBrk="1" latinLnBrk="0" hangingPunct="1">
        <a:spcBef>
          <a:spcPts val="300"/>
        </a:spcBef>
        <a:buClr>
          <a:schemeClr val="bg2"/>
        </a:buClr>
        <a:buFont typeface="Wingdings" pitchFamily="2" charset="2"/>
        <a:buChar char="§"/>
        <a:defRPr sz="1100" i="0" kern="1200" baseline="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601359" indent="-228764" algn="l" defTabSz="915067" rtl="0" eaLnBrk="1" latinLnBrk="0" hangingPunct="1">
        <a:spcBef>
          <a:spcPct val="20000"/>
        </a:spcBef>
        <a:buFont typeface="Wingdings" pitchFamily="2" charset="2"/>
        <a:buChar char="§"/>
        <a:defRPr sz="1199" i="0" kern="1200">
          <a:solidFill>
            <a:schemeClr val="bg1"/>
          </a:solidFill>
          <a:latin typeface="+mj-lt"/>
          <a:ea typeface="+mn-ea"/>
          <a:cs typeface="Arial" pitchFamily="34" charset="0"/>
        </a:defRPr>
      </a:lvl4pPr>
      <a:lvl5pPr marL="2058887" indent="-228764" algn="l" defTabSz="915067" rtl="0" eaLnBrk="1" latinLnBrk="0" hangingPunct="1">
        <a:spcBef>
          <a:spcPct val="20000"/>
        </a:spcBef>
        <a:buFont typeface="Wingdings" pitchFamily="2" charset="2"/>
        <a:buChar char="§"/>
        <a:defRPr sz="1199" i="0" kern="1200">
          <a:solidFill>
            <a:schemeClr val="bg1"/>
          </a:solidFill>
          <a:latin typeface="+mj-lt"/>
          <a:ea typeface="+mn-ea"/>
          <a:cs typeface="Arial" pitchFamily="34" charset="0"/>
        </a:defRPr>
      </a:lvl5pPr>
      <a:lvl6pPr marL="2516420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3945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31483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9011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529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5067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259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30123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765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518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2716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60246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81" userDrawn="1">
          <p15:clr>
            <a:srgbClr val="F26B43"/>
          </p15:clr>
        </p15:guide>
        <p15:guide id="2" pos="5579" userDrawn="1">
          <p15:clr>
            <a:srgbClr val="F26B43"/>
          </p15:clr>
        </p15:guide>
        <p15:guide id="3" pos="181">
          <p15:clr>
            <a:srgbClr val="F26B43"/>
          </p15:clr>
        </p15:guide>
        <p15:guide id="4" orient="horz" pos="195">
          <p15:clr>
            <a:srgbClr val="F26B43"/>
          </p15:clr>
        </p15:guide>
        <p15:guide id="5" orient="horz" pos="3852">
          <p15:clr>
            <a:srgbClr val="F26B43"/>
          </p15:clr>
        </p15:guide>
        <p15:guide id="6" orient="horz" pos="285">
          <p15:clr>
            <a:srgbClr val="F26B43"/>
          </p15:clr>
        </p15:guide>
        <p15:guide id="8" pos="7491">
          <p15:clr>
            <a:srgbClr val="F26B43"/>
          </p15:clr>
        </p15:guide>
        <p15:guide id="9" pos="7391">
          <p15:clr>
            <a:srgbClr val="F26B43"/>
          </p15:clr>
        </p15:guide>
        <p15:guide id="10" orient="horz" pos="464" userDrawn="1">
          <p15:clr>
            <a:srgbClr val="F26B43"/>
          </p15:clr>
        </p15:guide>
        <p15:guide id="11" orient="horz" pos="2913" userDrawn="1">
          <p15:clr>
            <a:srgbClr val="F26B43"/>
          </p15:clr>
        </p15:guide>
        <p15:guide id="12" pos="288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>
            <a:extLst>
              <a:ext uri="{FF2B5EF4-FFF2-40B4-BE49-F238E27FC236}">
                <a16:creationId xmlns:a16="http://schemas.microsoft.com/office/drawing/2014/main" id="{47F4591A-171D-4B6F-91D4-CD89F6E4B046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rcRect/>
          <a:stretch/>
        </p:blipFill>
        <p:spPr>
          <a:xfrm>
            <a:off x="8037563" y="4837246"/>
            <a:ext cx="817635" cy="173146"/>
          </a:xfrm>
          <a:prstGeom prst="rect">
            <a:avLst/>
          </a:prstGeom>
          <a:noFill/>
        </p:spPr>
      </p:pic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8B519F6C-EBB1-41F2-9E05-DEE79643C5DB}"/>
              </a:ext>
            </a:extLst>
          </p:cNvPr>
          <p:cNvCxnSpPr>
            <a:cxnSpLocks/>
          </p:cNvCxnSpPr>
          <p:nvPr userDrawn="1"/>
        </p:nvCxnSpPr>
        <p:spPr>
          <a:xfrm>
            <a:off x="506984" y="4762165"/>
            <a:ext cx="0" cy="13849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>
            <a:extLst>
              <a:ext uri="{FF2B5EF4-FFF2-40B4-BE49-F238E27FC236}">
                <a16:creationId xmlns:a16="http://schemas.microsoft.com/office/drawing/2014/main" id="{7532A455-C781-4527-AD8C-3511FB0D154E}"/>
              </a:ext>
            </a:extLst>
          </p:cNvPr>
          <p:cNvSpPr txBox="1"/>
          <p:nvPr userDrawn="1"/>
        </p:nvSpPr>
        <p:spPr>
          <a:xfrm>
            <a:off x="287338" y="4913692"/>
            <a:ext cx="7107374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700" b="0" i="0" u="none" strike="noStrike" baseline="0">
                <a:solidFill>
                  <a:schemeClr val="bg2">
                    <a:lumMod val="60000"/>
                    <a:lumOff val="40000"/>
                  </a:schemeClr>
                </a:solidFill>
                <a:latin typeface="+mn-lt"/>
              </a:rPr>
              <a:t>This document and the information therein are the property of Safran. They must not be copied or communicated to a third party without the prior written authorization of Safran</a:t>
            </a:r>
            <a:endParaRPr lang="fr-FR" sz="1600">
              <a:solidFill>
                <a:schemeClr val="bg2">
                  <a:lumMod val="60000"/>
                  <a:lumOff val="40000"/>
                </a:schemeClr>
              </a:solidFill>
              <a:latin typeface="+mn-lt"/>
            </a:endParaRPr>
          </a:p>
        </p:txBody>
      </p:sp>
      <p:sp>
        <p:nvSpPr>
          <p:cNvPr id="20" name="Espace réservé du numéro de diapositive 13">
            <a:extLst>
              <a:ext uri="{FF2B5EF4-FFF2-40B4-BE49-F238E27FC236}">
                <a16:creationId xmlns:a16="http://schemas.microsoft.com/office/drawing/2014/main" id="{CD93E076-75DB-4427-A260-9445BE8C8B75}"/>
              </a:ext>
            </a:extLst>
          </p:cNvPr>
          <p:cNvSpPr txBox="1">
            <a:spLocks/>
          </p:cNvSpPr>
          <p:nvPr userDrawn="1"/>
        </p:nvSpPr>
        <p:spPr>
          <a:xfrm>
            <a:off x="300010" y="4769393"/>
            <a:ext cx="19075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1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E85CA73-2D89-4D6A-A923-B574D1DA086D}" type="slidenum">
              <a:rPr lang="fr-FR" sz="80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pPr/>
              <a:t>‹N°›</a:t>
            </a:fld>
            <a:endParaRPr lang="fr-FR" sz="80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Espace réservé du titre 2">
            <a:extLst>
              <a:ext uri="{FF2B5EF4-FFF2-40B4-BE49-F238E27FC236}">
                <a16:creationId xmlns:a16="http://schemas.microsoft.com/office/drawing/2014/main" id="{B9383F94-4300-4F00-9605-92CC0B158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784" y="192338"/>
            <a:ext cx="8556653" cy="4270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here to add a title </a:t>
            </a:r>
            <a:endParaRPr lang="fr-FR"/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494B105B-2A3D-43D1-8E22-F916C197C990}"/>
              </a:ext>
            </a:extLst>
          </p:cNvPr>
          <p:cNvGrpSpPr/>
          <p:nvPr userDrawn="1"/>
        </p:nvGrpSpPr>
        <p:grpSpPr>
          <a:xfrm>
            <a:off x="295226" y="664592"/>
            <a:ext cx="995611" cy="72008"/>
            <a:chOff x="479376" y="980728"/>
            <a:chExt cx="995611" cy="72008"/>
          </a:xfrm>
        </p:grpSpPr>
        <p:cxnSp>
          <p:nvCxnSpPr>
            <p:cNvPr id="21" name="Connecteur droit 20">
              <a:extLst>
                <a:ext uri="{FF2B5EF4-FFF2-40B4-BE49-F238E27FC236}">
                  <a16:creationId xmlns:a16="http://schemas.microsoft.com/office/drawing/2014/main" id="{7B4C35C0-4DF7-499F-A0E9-DE22F8DE2F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9376" y="1047118"/>
              <a:ext cx="995611" cy="0"/>
            </a:xfrm>
            <a:prstGeom prst="line">
              <a:avLst/>
            </a:prstGeom>
            <a:noFill/>
            <a:ln w="12700" cap="flat" cmpd="sng" algn="ctr">
              <a:solidFill>
                <a:srgbClr val="2C4E5A"/>
              </a:solidFill>
              <a:prstDash val="solid"/>
              <a:miter lim="800000"/>
            </a:ln>
            <a:effectLst/>
          </p:spPr>
        </p:cxn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A032F39-BF54-4A07-A2E9-9CECCF93C9A6}"/>
                </a:ext>
              </a:extLst>
            </p:cNvPr>
            <p:cNvSpPr/>
            <p:nvPr userDrawn="1"/>
          </p:nvSpPr>
          <p:spPr>
            <a:xfrm>
              <a:off x="479376" y="980728"/>
              <a:ext cx="504056" cy="72008"/>
            </a:xfrm>
            <a:prstGeom prst="rect">
              <a:avLst/>
            </a:prstGeom>
            <a:gradFill>
              <a:gsLst>
                <a:gs pos="0">
                  <a:srgbClr val="15D0CB"/>
                </a:gs>
                <a:gs pos="100000">
                  <a:srgbClr val="2C4E5A"/>
                </a:gs>
              </a:gsLst>
              <a:lin ang="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33C5864-A815-9137-28E9-1104EAB284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6983" y="4759334"/>
            <a:ext cx="6708203" cy="12941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  <p:sp>
        <p:nvSpPr>
          <p:cNvPr id="2" name="hc" descr="  "/>
          <p:cNvSpPr txBox="1"/>
          <p:nvPr userDrawn="1"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fr-FR" sz="850" b="0" i="0" u="none" baseline="0">
                <a:solidFill>
                  <a:srgbClr val="000000"/>
                </a:solidFill>
                <a:latin typeface="Microsoft Sans Serif" panose="020B0604020202020204" pitchFamily="34" charset="0"/>
              </a:rPr>
              <a:t>  </a:t>
            </a:r>
          </a:p>
        </p:txBody>
      </p:sp>
      <p:sp>
        <p:nvSpPr>
          <p:cNvPr id="4" name="fc" descr="  "/>
          <p:cNvSpPr txBox="1"/>
          <p:nvPr userDrawn="1"/>
        </p:nvSpPr>
        <p:spPr>
          <a:xfrm>
            <a:off x="0" y="4825047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fr-FR" sz="850" b="0" i="0" u="none" baseline="0">
                <a:solidFill>
                  <a:srgbClr val="000000"/>
                </a:solidFill>
                <a:latin typeface="Microsoft Sans Serif" panose="020B0604020202020204" pitchFamily="34" charset="0"/>
              </a:rPr>
              <a:t>  </a:t>
            </a:r>
          </a:p>
        </p:txBody>
      </p:sp>
      <p:sp>
        <p:nvSpPr>
          <p:cNvPr id="6" name="MSIPCMContentMarking" descr="{&quot;HashCode&quot;:-1484644562,&quot;Placement&quot;:&quot;Header&quot;,&quot;Top&quot;:0.0,&quot;Left&quot;:315.021423,&quot;SlideWidth&quot;:720,&quot;SlideHeight&quot;:405}"/>
          <p:cNvSpPr txBox="1"/>
          <p:nvPr userDrawn="1"/>
        </p:nvSpPr>
        <p:spPr>
          <a:xfrm>
            <a:off x="4000772" y="0"/>
            <a:ext cx="114245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FF8C00"/>
                </a:solidFill>
                <a:latin typeface="Calibri" panose="020F0502020204030204" pitchFamily="34" charset="0"/>
              </a:rPr>
              <a:t>C2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3878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0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26" r:id="rId8"/>
  </p:sldLayoutIdLst>
  <p:transition>
    <p:fade/>
  </p:transition>
  <p:hf sldNum="0" hdr="0" dt="0"/>
  <p:txStyles>
    <p:titleStyle>
      <a:lvl1pPr algn="l" defTabSz="915067" rtl="0" eaLnBrk="1" latinLnBrk="0" hangingPunct="1">
        <a:spcBef>
          <a:spcPct val="0"/>
        </a:spcBef>
        <a:buNone/>
        <a:defRPr sz="2200" b="0" i="0" kern="1200" cap="none" baseline="0">
          <a:solidFill>
            <a:schemeClr val="accent2"/>
          </a:solidFill>
          <a:latin typeface="+mj-lt"/>
          <a:ea typeface="+mj-ea"/>
          <a:cs typeface="Arial" pitchFamily="34" charset="0"/>
        </a:defRPr>
      </a:lvl1pPr>
    </p:titleStyle>
    <p:bodyStyle>
      <a:lvl1pPr marL="182698" indent="-182698" algn="l" defTabSz="915067" rtl="0" eaLnBrk="1" latinLnBrk="0" hangingPunct="1">
        <a:spcBef>
          <a:spcPts val="600"/>
        </a:spcBef>
        <a:buClr>
          <a:schemeClr val="accent1"/>
        </a:buClr>
        <a:buFont typeface="Wingdings" pitchFamily="2" charset="2"/>
        <a:buChar char="§"/>
        <a:defRPr sz="1400" i="0" kern="1200" baseline="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347914" indent="-163628" algn="l" defTabSz="915067" rtl="0" eaLnBrk="1" latinLnBrk="0" hangingPunct="1">
        <a:spcBef>
          <a:spcPts val="300"/>
        </a:spcBef>
        <a:buClr>
          <a:schemeClr val="bg2"/>
        </a:buClr>
        <a:buFont typeface="Wingdings" pitchFamily="2" charset="2"/>
        <a:buChar char="§"/>
        <a:defRPr sz="1199" i="0" kern="1200" baseline="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509954" indent="-166802" algn="l" defTabSz="915067" rtl="0" eaLnBrk="1" latinLnBrk="0" hangingPunct="1">
        <a:spcBef>
          <a:spcPts val="300"/>
        </a:spcBef>
        <a:buClr>
          <a:schemeClr val="bg2"/>
        </a:buClr>
        <a:buFont typeface="Wingdings" pitchFamily="2" charset="2"/>
        <a:buChar char="§"/>
        <a:defRPr sz="1100" i="0" kern="1200" baseline="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601359" indent="-228764" algn="l" defTabSz="915067" rtl="0" eaLnBrk="1" latinLnBrk="0" hangingPunct="1">
        <a:spcBef>
          <a:spcPct val="20000"/>
        </a:spcBef>
        <a:buFont typeface="Wingdings" pitchFamily="2" charset="2"/>
        <a:buChar char="§"/>
        <a:defRPr sz="1199" i="0" kern="1200">
          <a:solidFill>
            <a:schemeClr val="bg1"/>
          </a:solidFill>
          <a:latin typeface="+mj-lt"/>
          <a:ea typeface="+mn-ea"/>
          <a:cs typeface="Arial" pitchFamily="34" charset="0"/>
        </a:defRPr>
      </a:lvl4pPr>
      <a:lvl5pPr marL="2058887" indent="-228764" algn="l" defTabSz="915067" rtl="0" eaLnBrk="1" latinLnBrk="0" hangingPunct="1">
        <a:spcBef>
          <a:spcPct val="20000"/>
        </a:spcBef>
        <a:buFont typeface="Wingdings" pitchFamily="2" charset="2"/>
        <a:buChar char="§"/>
        <a:defRPr sz="1199" i="0" kern="1200">
          <a:solidFill>
            <a:schemeClr val="bg1"/>
          </a:solidFill>
          <a:latin typeface="+mj-lt"/>
          <a:ea typeface="+mn-ea"/>
          <a:cs typeface="Arial" pitchFamily="34" charset="0"/>
        </a:defRPr>
      </a:lvl5pPr>
      <a:lvl6pPr marL="2516420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3945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31483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9011" indent="-228764" algn="l" defTabSz="9150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529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5067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259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30123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765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5182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2716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60246" algn="l" defTabSz="91506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81" userDrawn="1">
          <p15:clr>
            <a:srgbClr val="F26B43"/>
          </p15:clr>
        </p15:guide>
        <p15:guide id="2" pos="5579" userDrawn="1">
          <p15:clr>
            <a:srgbClr val="F26B43"/>
          </p15:clr>
        </p15:guide>
        <p15:guide id="3" pos="181">
          <p15:clr>
            <a:srgbClr val="F26B43"/>
          </p15:clr>
        </p15:guide>
        <p15:guide id="4" orient="horz" pos="195">
          <p15:clr>
            <a:srgbClr val="F26B43"/>
          </p15:clr>
        </p15:guide>
        <p15:guide id="5" orient="horz" pos="3852">
          <p15:clr>
            <a:srgbClr val="F26B43"/>
          </p15:clr>
        </p15:guide>
        <p15:guide id="6" orient="horz" pos="285">
          <p15:clr>
            <a:srgbClr val="F26B43"/>
          </p15:clr>
        </p15:guide>
        <p15:guide id="8" pos="7491">
          <p15:clr>
            <a:srgbClr val="F26B43"/>
          </p15:clr>
        </p15:guide>
        <p15:guide id="9" pos="7391">
          <p15:clr>
            <a:srgbClr val="F26B43"/>
          </p15:clr>
        </p15:guide>
        <p15:guide id="10" orient="horz" pos="464" userDrawn="1">
          <p15:clr>
            <a:srgbClr val="F26B43"/>
          </p15:clr>
        </p15:guide>
        <p15:guide id="11" orient="horz" pos="2913" userDrawn="1">
          <p15:clr>
            <a:srgbClr val="F26B43"/>
          </p15:clr>
        </p15:guide>
        <p15:guide id="12" pos="288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Diapositive think-cell" r:id="rId12" imgW="270" imgH="270" progId="TCLayout.ActiveDocument.1">
                  <p:embed/>
                </p:oleObj>
              </mc:Choice>
              <mc:Fallback>
                <p:oleObj name="Diapositive think-cell" r:id="rId12" imgW="270" imgH="270" progId="TCLayout.ActiveDocument.1">
                  <p:embed/>
                  <p:pic>
                    <p:nvPicPr>
                      <p:cNvPr id="9" name="Objet 8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 userDrawn="1">
            <p:ph type="title"/>
          </p:nvPr>
        </p:nvSpPr>
        <p:spPr bwMode="gray">
          <a:xfrm>
            <a:off x="503238" y="411290"/>
            <a:ext cx="8389937" cy="72094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 userDrawn="1">
            <p:ph type="body" idx="1"/>
          </p:nvPr>
        </p:nvSpPr>
        <p:spPr bwMode="gray">
          <a:xfrm>
            <a:off x="971551" y="1132239"/>
            <a:ext cx="7921625" cy="34935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4" name="Espace réservé de la date 3"/>
          <p:cNvSpPr>
            <a:spLocks noGrp="1"/>
          </p:cNvSpPr>
          <p:nvPr userDrawn="1">
            <p:ph type="dt" sz="half" idx="2"/>
          </p:nvPr>
        </p:nvSpPr>
        <p:spPr bwMode="gray">
          <a:xfrm>
            <a:off x="-1" y="4913241"/>
            <a:ext cx="503239" cy="23184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Jour/mois/année</a:t>
            </a:r>
          </a:p>
        </p:txBody>
      </p:sp>
      <p:sp>
        <p:nvSpPr>
          <p:cNvPr id="5" name="Espace réservé du pied de page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503239" y="4625816"/>
            <a:ext cx="7164386" cy="3241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950">
                <a:solidFill>
                  <a:schemeClr val="accent2"/>
                </a:solidFill>
              </a:defRPr>
            </a:lvl1pPr>
          </a:lstStyle>
          <a:p>
            <a:pPr algn="l"/>
            <a:r>
              <a:rPr lang="en-US"/>
              <a:t>Safran Aircraft Engines / 08.02.2023 / YXFF</a:t>
            </a:r>
            <a:endParaRPr lang="fr-FR"/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03239" y="4961332"/>
            <a:ext cx="7164387" cy="183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678599" y="4713855"/>
            <a:ext cx="1440000" cy="433354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252000" y="252078"/>
            <a:ext cx="61200" cy="3961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Rectangle 12"/>
          <p:cNvSpPr/>
          <p:nvPr userDrawn="1"/>
        </p:nvSpPr>
        <p:spPr>
          <a:xfrm>
            <a:off x="252000" y="252078"/>
            <a:ext cx="396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6" name="Espace réservé du numéro de diapositive 5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250825" y="4625817"/>
            <a:ext cx="235174" cy="3241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50" b="1">
                <a:solidFill>
                  <a:schemeClr val="accent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0" name="MSIPCMContentMarking" descr="{&quot;HashCode&quot;:-1484644562,&quot;Placement&quot;:&quot;Header&quot;,&quot;Top&quot;:0.0,&quot;Left&quot;:315.021423,&quot;SlideWidth&quot;:720,&quot;SlideHeight&quot;:405}"/>
          <p:cNvSpPr txBox="1"/>
          <p:nvPr userDrawn="1"/>
        </p:nvSpPr>
        <p:spPr>
          <a:xfrm>
            <a:off x="4000772" y="0"/>
            <a:ext cx="114245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FF8C00"/>
                </a:solidFill>
                <a:latin typeface="Calibri" panose="020F0502020204030204" pitchFamily="34" charset="0"/>
              </a:rPr>
              <a:t>C2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94152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65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spcAft>
          <a:spcPts val="600"/>
        </a:spcAft>
        <a:buFont typeface="Arial" pitchFamily="34" charset="0"/>
        <a:buNone/>
        <a:defRPr sz="145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3"/>
        </a:buClr>
        <a:buFont typeface="Wingdings 2" panose="05020102010507070707" pitchFamily="18" charset="2"/>
        <a:buNone/>
        <a:defRPr sz="11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3"/>
        </a:buClr>
        <a:buSzPct val="100000"/>
        <a:buFont typeface="Wingdings 2" panose="05020102010507070707" pitchFamily="18" charset="2"/>
        <a:buChar char="¿"/>
        <a:defRPr sz="11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20000"/>
        </a:lnSpc>
        <a:spcBef>
          <a:spcPts val="0"/>
        </a:spcBef>
        <a:buClr>
          <a:schemeClr val="accent3"/>
        </a:buClr>
        <a:buSzPct val="100000"/>
        <a:buFont typeface="Arial Black" panose="020B0A04020102020204" pitchFamily="34" charset="0"/>
        <a:buChar char="&gt;"/>
        <a:defRPr sz="11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612000" indent="-144000" algn="l" defTabSz="914400" rtl="0" eaLnBrk="1" latinLnBrk="0" hangingPunct="1">
        <a:lnSpc>
          <a:spcPct val="120000"/>
        </a:lnSpc>
        <a:spcBef>
          <a:spcPts val="0"/>
        </a:spcBef>
        <a:buClr>
          <a:schemeClr val="accent3"/>
        </a:buClr>
        <a:buSzPct val="100000"/>
        <a:buFont typeface="Wingdings" panose="05000000000000000000" pitchFamily="2" charset="2"/>
        <a:buChar char="w"/>
        <a:defRPr sz="11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03238" y="411292"/>
            <a:ext cx="8389937" cy="3604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71552" y="959875"/>
            <a:ext cx="7921625" cy="36659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-1" y="4913242"/>
            <a:ext cx="503239" cy="23184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44DD20A9-A6A7-4795-9D44-893C449B3B29}" type="datetime1">
              <a:rPr lang="fr-FR" smtClean="0"/>
              <a:t>03/11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503239" y="4625816"/>
            <a:ext cx="7164386" cy="3241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675">
                <a:solidFill>
                  <a:schemeClr val="accent2"/>
                </a:solidFill>
              </a:defRPr>
            </a:lvl1pPr>
          </a:lstStyle>
          <a:p>
            <a:r>
              <a:rPr lang="fr-FR"/>
              <a:t>Safran / C2-Restricted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50826" y="4625817"/>
            <a:ext cx="235174" cy="3241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50" b="1">
                <a:solidFill>
                  <a:schemeClr val="accent2"/>
                </a:solidFill>
              </a:defRPr>
            </a:lvl1pPr>
          </a:lstStyle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Rectangle 7"/>
          <p:cNvSpPr/>
          <p:nvPr/>
        </p:nvSpPr>
        <p:spPr bwMode="gray">
          <a:xfrm>
            <a:off x="503240" y="4961332"/>
            <a:ext cx="7164387" cy="183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678599" y="4713856"/>
            <a:ext cx="1440000" cy="43335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52000" y="252078"/>
            <a:ext cx="61200" cy="3961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Rectangle 12"/>
          <p:cNvSpPr/>
          <p:nvPr/>
        </p:nvSpPr>
        <p:spPr>
          <a:xfrm>
            <a:off x="252000" y="252078"/>
            <a:ext cx="396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fc" descr="  "/>
          <p:cNvSpPr txBox="1"/>
          <p:nvPr/>
        </p:nvSpPr>
        <p:spPr>
          <a:xfrm>
            <a:off x="0" y="4824949"/>
            <a:ext cx="9144000" cy="22320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fr-FR" sz="850" b="0" i="0" u="none" baseline="0">
                <a:solidFill>
                  <a:srgbClr val="000000"/>
                </a:solidFill>
                <a:latin typeface="Microsoft Sans Serif" panose="020B0604020202020204" pitchFamily="34" charset="0"/>
              </a:rPr>
              <a:t>  </a:t>
            </a:r>
          </a:p>
        </p:txBody>
      </p:sp>
      <p:sp>
        <p:nvSpPr>
          <p:cNvPr id="15" name="hc" descr="C2 - Restricted"/>
          <p:cNvSpPr txBox="1"/>
          <p:nvPr userDrawn="1"/>
        </p:nvSpPr>
        <p:spPr>
          <a:xfrm>
            <a:off x="0" y="0"/>
            <a:ext cx="9144000" cy="22320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fr-FR" sz="850" b="0" i="0" u="none" baseline="0">
                <a:solidFill>
                  <a:srgbClr val="FF9900"/>
                </a:solidFill>
                <a:latin typeface="Microsoft Sans Serif" panose="020B0604020202020204" pitchFamily="34" charset="0"/>
              </a:rPr>
              <a:t>C2 - Restricted</a:t>
            </a:r>
          </a:p>
        </p:txBody>
      </p:sp>
      <p:sp>
        <p:nvSpPr>
          <p:cNvPr id="9" name="MSIPCMContentMarking" descr="{&quot;HashCode&quot;:-1484644562,&quot;Placement&quot;:&quot;Header&quot;,&quot;Top&quot;:0.0,&quot;Left&quot;:315.021423,&quot;SlideWidth&quot;:720,&quot;SlideHeight&quot;:405}"/>
          <p:cNvSpPr txBox="1"/>
          <p:nvPr userDrawn="1"/>
        </p:nvSpPr>
        <p:spPr>
          <a:xfrm>
            <a:off x="4000772" y="0"/>
            <a:ext cx="114245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FF8C00"/>
                </a:solidFill>
                <a:latin typeface="Calibri" panose="020F0502020204030204" pitchFamily="34" charset="0"/>
              </a:rPr>
              <a:t>C2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88557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43" r:id="rId2"/>
    <p:sldLayoutId id="2147483944" r:id="rId3"/>
    <p:sldLayoutId id="2147483945" r:id="rId4"/>
    <p:sldLayoutId id="2147483946" r:id="rId5"/>
    <p:sldLayoutId id="2147483947" r:id="rId6"/>
    <p:sldLayoutId id="2147483948" r:id="rId7"/>
    <p:sldLayoutId id="2147483949" r:id="rId8"/>
    <p:sldLayoutId id="2147483950" r:id="rId9"/>
    <p:sldLayoutId id="2147483951" r:id="rId10"/>
    <p:sldLayoutId id="2147483952" r:id="rId11"/>
    <p:sldLayoutId id="2147483955" r:id="rId12"/>
  </p:sldLayoutIdLst>
  <p:hf hdr="0" ftr="0" dt="0"/>
  <p:txStyles>
    <p:titleStyle>
      <a:lvl1pPr algn="l" defTabSz="914378" rtl="0" eaLnBrk="1" latinLnBrk="0" hangingPunct="1">
        <a:lnSpc>
          <a:spcPct val="100000"/>
        </a:lnSpc>
        <a:spcBef>
          <a:spcPct val="0"/>
        </a:spcBef>
        <a:buNone/>
        <a:defRPr sz="1650" b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lnSpc>
          <a:spcPct val="100000"/>
        </a:lnSpc>
        <a:spcBef>
          <a:spcPts val="1800"/>
        </a:spcBef>
        <a:spcAft>
          <a:spcPts val="600"/>
        </a:spcAft>
        <a:buFont typeface="Arial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378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3"/>
        </a:buClr>
        <a:buFont typeface="Wingdings 2" panose="05020102010507070707" pitchFamily="18" charset="2"/>
        <a:buNone/>
        <a:defRPr sz="9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43996" indent="-143996" algn="l" defTabSz="914378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3"/>
        </a:buClr>
        <a:buSzPct val="100000"/>
        <a:buFont typeface="Wingdings 2" panose="05020102010507070707" pitchFamily="18" charset="2"/>
        <a:buChar char="¿"/>
        <a:defRPr sz="9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359991" indent="-143996" algn="l" defTabSz="914378" rtl="0" eaLnBrk="1" latinLnBrk="0" hangingPunct="1">
        <a:lnSpc>
          <a:spcPct val="120000"/>
        </a:lnSpc>
        <a:spcBef>
          <a:spcPts val="0"/>
        </a:spcBef>
        <a:buClr>
          <a:schemeClr val="accent3"/>
        </a:buClr>
        <a:buSzPct val="100000"/>
        <a:buFont typeface="Arial Black" panose="020B0A04020102020204" pitchFamily="34" charset="0"/>
        <a:buChar char="&gt;"/>
        <a:defRPr sz="9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611985" indent="-143996" algn="l" defTabSz="914378" rtl="0" eaLnBrk="1" latinLnBrk="0" hangingPunct="1">
        <a:lnSpc>
          <a:spcPct val="120000"/>
        </a:lnSpc>
        <a:spcBef>
          <a:spcPts val="0"/>
        </a:spcBef>
        <a:buClr>
          <a:schemeClr val="accent3"/>
        </a:buClr>
        <a:buSzPct val="100000"/>
        <a:buFont typeface="Wingdings" panose="05000000000000000000" pitchFamily="2" charset="2"/>
        <a:buChar char="w"/>
        <a:defRPr sz="9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03238" y="411293"/>
            <a:ext cx="8389937" cy="3604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71553" y="959876"/>
            <a:ext cx="7921625" cy="36659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-1" y="4913243"/>
            <a:ext cx="503239" cy="23184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D64164A3-3C33-437C-91C7-89F7FD7E5C05}" type="datetime1">
              <a:rPr lang="fr-FR" smtClean="0"/>
              <a:t>03/11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503239" y="4625816"/>
            <a:ext cx="7164386" cy="3241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675">
                <a:solidFill>
                  <a:schemeClr val="accent2"/>
                </a:solidFill>
              </a:defRPr>
            </a:lvl1pPr>
          </a:lstStyle>
          <a:p>
            <a:r>
              <a:rPr lang="fr-FR"/>
              <a:t>Safran / C2-Restricted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50827" y="4625817"/>
            <a:ext cx="235174" cy="3241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50" b="1">
                <a:solidFill>
                  <a:schemeClr val="accent2"/>
                </a:solidFill>
              </a:defRPr>
            </a:lvl1pPr>
          </a:lstStyle>
          <a:p>
            <a:fld id="{1F6810B3-52E8-4DDD-90C7-BFCE3F6CCD16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Rectangle 7"/>
          <p:cNvSpPr/>
          <p:nvPr/>
        </p:nvSpPr>
        <p:spPr bwMode="gray">
          <a:xfrm>
            <a:off x="503241" y="4961332"/>
            <a:ext cx="7164387" cy="1837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fr-FR" sz="600">
                <a:solidFill>
                  <a:schemeClr val="accent2"/>
                </a:solidFill>
              </a:rPr>
              <a:t>Ce document et les informations qu’il contient sont la propriété de Safran. Ils ne doivent pas être copiés ni communiqués à un tiers sans l’autorisation préalable et écrite de Safran.</a:t>
            </a:r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678599" y="4713856"/>
            <a:ext cx="1440000" cy="43335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52000" y="252078"/>
            <a:ext cx="61200" cy="3961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Rectangle 12"/>
          <p:cNvSpPr/>
          <p:nvPr/>
        </p:nvSpPr>
        <p:spPr>
          <a:xfrm>
            <a:off x="252000" y="252078"/>
            <a:ext cx="396000" cy="612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fc" descr="  "/>
          <p:cNvSpPr txBox="1"/>
          <p:nvPr/>
        </p:nvSpPr>
        <p:spPr>
          <a:xfrm>
            <a:off x="0" y="4824949"/>
            <a:ext cx="9144000" cy="22320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fr-FR" sz="850" b="0" i="0" u="none" baseline="0">
                <a:solidFill>
                  <a:srgbClr val="000000"/>
                </a:solidFill>
                <a:latin typeface="Microsoft Sans Serif" panose="020B0604020202020204" pitchFamily="34" charset="0"/>
              </a:rPr>
              <a:t>  </a:t>
            </a:r>
          </a:p>
        </p:txBody>
      </p:sp>
      <p:sp>
        <p:nvSpPr>
          <p:cNvPr id="15" name="hc" descr="C2 - Restricted"/>
          <p:cNvSpPr txBox="1"/>
          <p:nvPr userDrawn="1"/>
        </p:nvSpPr>
        <p:spPr>
          <a:xfrm>
            <a:off x="0" y="0"/>
            <a:ext cx="9144000" cy="22320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fr-FR" sz="850" b="0" i="0" u="none" baseline="0">
                <a:solidFill>
                  <a:srgbClr val="FF9900"/>
                </a:solidFill>
                <a:latin typeface="Microsoft Sans Serif" panose="020B0604020202020204" pitchFamily="34" charset="0"/>
              </a:rPr>
              <a:t>C2 - Restricted</a:t>
            </a:r>
          </a:p>
        </p:txBody>
      </p:sp>
      <p:sp>
        <p:nvSpPr>
          <p:cNvPr id="9" name="MSIPCMContentMarking" descr="{&quot;HashCode&quot;:-1484644562,&quot;Placement&quot;:&quot;Header&quot;,&quot;Top&quot;:0.0,&quot;Left&quot;:315.021423,&quot;SlideWidth&quot;:720,&quot;SlideHeight&quot;:405}"/>
          <p:cNvSpPr txBox="1"/>
          <p:nvPr userDrawn="1"/>
        </p:nvSpPr>
        <p:spPr>
          <a:xfrm>
            <a:off x="4000772" y="0"/>
            <a:ext cx="114245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FF8C00"/>
                </a:solidFill>
                <a:latin typeface="Calibri" panose="020F0502020204030204" pitchFamily="34" charset="0"/>
              </a:rPr>
              <a:t>C2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12261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958" r:id="rId2"/>
    <p:sldLayoutId id="2147483959" r:id="rId3"/>
    <p:sldLayoutId id="2147483960" r:id="rId4"/>
    <p:sldLayoutId id="2147483961" r:id="rId5"/>
    <p:sldLayoutId id="2147483962" r:id="rId6"/>
    <p:sldLayoutId id="2147483963" r:id="rId7"/>
    <p:sldLayoutId id="2147483964" r:id="rId8"/>
    <p:sldLayoutId id="2147483965" r:id="rId9"/>
    <p:sldLayoutId id="2147483966" r:id="rId10"/>
    <p:sldLayoutId id="2147483967" r:id="rId11"/>
    <p:sldLayoutId id="2147483968" r:id="rId12"/>
    <p:sldLayoutId id="2147483969" r:id="rId13"/>
  </p:sldLayoutIdLst>
  <p:hf hdr="0" ftr="0" dt="0"/>
  <p:txStyles>
    <p:titleStyle>
      <a:lvl1pPr algn="l" defTabSz="914355" rtl="0" eaLnBrk="1" latinLnBrk="0" hangingPunct="1">
        <a:lnSpc>
          <a:spcPct val="100000"/>
        </a:lnSpc>
        <a:spcBef>
          <a:spcPct val="0"/>
        </a:spcBef>
        <a:buNone/>
        <a:defRPr sz="1650" b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355" rtl="0" eaLnBrk="1" latinLnBrk="0" hangingPunct="1">
        <a:lnSpc>
          <a:spcPct val="100000"/>
        </a:lnSpc>
        <a:spcBef>
          <a:spcPts val="1800"/>
        </a:spcBef>
        <a:spcAft>
          <a:spcPts val="600"/>
        </a:spcAft>
        <a:buFont typeface="Arial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3"/>
        </a:buClr>
        <a:buFont typeface="Wingdings 2" panose="05020102010507070707" pitchFamily="18" charset="2"/>
        <a:buNone/>
        <a:defRPr sz="9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43993" indent="-143993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3"/>
        </a:buClr>
        <a:buSzPct val="100000"/>
        <a:buFont typeface="Wingdings 2" panose="05020102010507070707" pitchFamily="18" charset="2"/>
        <a:buChar char="¿"/>
        <a:defRPr sz="9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359982" indent="-143993" algn="l" defTabSz="914355" rtl="0" eaLnBrk="1" latinLnBrk="0" hangingPunct="1">
        <a:lnSpc>
          <a:spcPct val="120000"/>
        </a:lnSpc>
        <a:spcBef>
          <a:spcPts val="0"/>
        </a:spcBef>
        <a:buClr>
          <a:schemeClr val="accent3"/>
        </a:buClr>
        <a:buSzPct val="100000"/>
        <a:buFont typeface="Arial Black" panose="020B0A04020102020204" pitchFamily="34" charset="0"/>
        <a:buChar char="&gt;"/>
        <a:defRPr sz="9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611970" indent="-143993" algn="l" defTabSz="914355" rtl="0" eaLnBrk="1" latinLnBrk="0" hangingPunct="1">
        <a:lnSpc>
          <a:spcPct val="120000"/>
        </a:lnSpc>
        <a:spcBef>
          <a:spcPts val="0"/>
        </a:spcBef>
        <a:buClr>
          <a:schemeClr val="accent3"/>
        </a:buClr>
        <a:buSzPct val="100000"/>
        <a:buFont typeface="Wingdings" panose="05000000000000000000" pitchFamily="2" charset="2"/>
        <a:buChar char="w"/>
        <a:defRPr sz="9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w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18.png"/><Relationship Id="rId7" Type="http://schemas.openxmlformats.org/officeDocument/2006/relationships/diagramQuickStyle" Target="../diagrams/quickStyle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0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microsoft.com/office/2007/relationships/hdphoto" Target="../media/hdphoto1.wdp"/><Relationship Id="rId9" Type="http://schemas.microsoft.com/office/2007/relationships/diagramDrawing" Target="../diagrams/drawing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3BB7C9F4-C629-43E8-8D54-85B10A7B39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5636" y="849086"/>
            <a:ext cx="3206212" cy="1723458"/>
          </a:xfrm>
        </p:spPr>
        <p:txBody>
          <a:bodyPr/>
          <a:lstStyle/>
          <a:p>
            <a:pPr>
              <a:tabLst>
                <a:tab pos="1438275" algn="l"/>
              </a:tabLst>
            </a:pPr>
            <a:r>
              <a:rPr lang="en-GB" sz="1600"/>
              <a:t>Project Proposal: </a:t>
            </a:r>
          </a:p>
          <a:p>
            <a:pPr>
              <a:tabLst>
                <a:tab pos="1438275" algn="l"/>
              </a:tabLst>
            </a:pPr>
            <a:r>
              <a:rPr lang="en-GB" sz="1600"/>
              <a:t>Natural Language Processing for Classification of Aviation Safety Reporting Systems</a:t>
            </a:r>
            <a:endParaRPr lang="da-DK" sz="1600"/>
          </a:p>
        </p:txBody>
      </p:sp>
      <p:pic>
        <p:nvPicPr>
          <p:cNvPr id="10" name="Espace réservé pour une image  7">
            <a:extLst>
              <a:ext uri="{FF2B5EF4-FFF2-40B4-BE49-F238E27FC236}">
                <a16:creationId xmlns:a16="http://schemas.microsoft.com/office/drawing/2014/main" id="{E0B25054-2C44-C74F-1F7B-83EC8E0E4C94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27438" y="0"/>
            <a:ext cx="5516562" cy="5145088"/>
          </a:xfrm>
        </p:spPr>
      </p:pic>
      <p:sp>
        <p:nvSpPr>
          <p:cNvPr id="3" name="ZoneTexte 2"/>
          <p:cNvSpPr txBox="1"/>
          <p:nvPr/>
        </p:nvSpPr>
        <p:spPr>
          <a:xfrm>
            <a:off x="297588" y="2803435"/>
            <a:ext cx="3054260" cy="13234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ong-Quan </a:t>
            </a:r>
            <a:r>
              <a:rPr lang="fr-FR" sz="1600" dirty="0" smtClean="0">
                <a:solidFill>
                  <a:schemeClr val="bg1"/>
                </a:solidFill>
              </a:rPr>
              <a:t>Vu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éline Berthou</a:t>
            </a:r>
            <a:endParaRPr lang="fr-FR" sz="1600" dirty="0">
              <a:solidFill>
                <a:schemeClr val="bg1"/>
              </a:solidFill>
              <a:cs typeface="Segoe UI"/>
            </a:endParaRPr>
          </a:p>
          <a:p>
            <a:pPr algn="ctr"/>
            <a:r>
              <a:rPr lang="fr-FR" sz="1600" dirty="0" smtClean="0">
                <a:solidFill>
                  <a:schemeClr val="bg1"/>
                </a:solidFill>
              </a:rPr>
              <a:t>Jean-Frédéric </a:t>
            </a:r>
            <a:r>
              <a:rPr lang="fr-FR" sz="1600" dirty="0" err="1">
                <a:solidFill>
                  <a:schemeClr val="bg1"/>
                </a:solidFill>
              </a:rPr>
              <a:t>Diebold</a:t>
            </a:r>
            <a:endParaRPr lang="fr-FR" sz="1600" dirty="0">
              <a:solidFill>
                <a:schemeClr val="bg1"/>
              </a:solidFill>
            </a:endParaRPr>
          </a:p>
          <a:p>
            <a:pPr algn="ctr"/>
            <a:endParaRPr lang="fr-FR" sz="1600" dirty="0">
              <a:solidFill>
                <a:schemeClr val="bg1"/>
              </a:solidFill>
            </a:endParaRP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Date: 03/11/2023  </a:t>
            </a:r>
            <a:endParaRPr lang="fr-FR" sz="1600" dirty="0">
              <a:solidFill>
                <a:schemeClr val="bg1"/>
              </a:solidFill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2075675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56CBF7C-4A1A-1035-7199-C3DF8EE15D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  <p:pic>
        <p:nvPicPr>
          <p:cNvPr id="7" name="Image 6" descr="Une image contenant texte, capture d’écran, logiciel, Page web&#10;&#10;Description générée automatiquement">
            <a:extLst>
              <a:ext uri="{FF2B5EF4-FFF2-40B4-BE49-F238E27FC236}">
                <a16:creationId xmlns:a16="http://schemas.microsoft.com/office/drawing/2014/main" id="{6D0C4629-F7BA-CDEA-217C-2F93D4A786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35" y="47382"/>
            <a:ext cx="9069674" cy="4994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93760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err="1"/>
              <a:t>AeroBOT</a:t>
            </a:r>
            <a:r>
              <a:rPr lang="fr-FR"/>
              <a:t> </a:t>
            </a:r>
            <a:r>
              <a:rPr lang="fr-FR" err="1"/>
              <a:t>project</a:t>
            </a:r>
            <a:r>
              <a:rPr lang="fr-FR"/>
              <a:t> 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/>
              <a:t>Department / Company / Date (menu "Insert / Header and footer" – “Insertion / En-tête et pied de page”)</a:t>
            </a:r>
          </a:p>
        </p:txBody>
      </p:sp>
      <p:graphicFrame>
        <p:nvGraphicFramePr>
          <p:cNvPr id="5" name="Espace réservé du contenu 4">
            <a:hlinkClick r:id="" action="ppaction://ole?verb=0"/>
          </p:cNvPr>
          <p:cNvGraphicFramePr>
            <a:graphicFrameLocks noGrp="1" noChangeAspect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200402816"/>
              </p:ext>
            </p:extLst>
          </p:nvPr>
        </p:nvGraphicFramePr>
        <p:xfrm>
          <a:off x="316587" y="842480"/>
          <a:ext cx="914400" cy="7921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Présentation" showAsIcon="1" r:id="rId3" imgW="914400" imgH="792360" progId="PowerPoint.Show.12">
                  <p:embed/>
                </p:oleObj>
              </mc:Choice>
              <mc:Fallback>
                <p:oleObj name="Présentation" showAsIcon="1" r:id="rId3" imgW="914400" imgH="79236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6587" y="842480"/>
                        <a:ext cx="914400" cy="7921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ZoneTexte 5"/>
          <p:cNvSpPr txBox="1"/>
          <p:nvPr/>
        </p:nvSpPr>
        <p:spPr>
          <a:xfrm>
            <a:off x="3298579" y="205855"/>
            <a:ext cx="5649234" cy="261610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10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Project to classify aeronautic narratives of abnormal events by performing NLP (Natural Language Processing) on narratives containing technical jargon (TLP = Technical Language Processing)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sz="110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10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Open-source ASRS database 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sz="110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10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Difficulties : </a:t>
            </a:r>
            <a:endParaRPr lang="en-GB" sz="110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marL="633095" lvl="1" indent="-285750" algn="just" defTabSz="915067">
              <a:spcBef>
                <a:spcPts val="3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Technical jargon </a:t>
            </a:r>
          </a:p>
          <a:p>
            <a:pPr marL="633095" lvl="1" indent="-285750" algn="just" defTabSz="915067">
              <a:spcBef>
                <a:spcPts val="3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en-GB" sz="110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Model multi-labels : </a:t>
            </a:r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the model should be able to predict multiple labels simultaneously. </a:t>
            </a:r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marL="633095" lvl="1" indent="-285750" algn="just" defTabSz="915067">
              <a:spcBef>
                <a:spcPts val="3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Highly unbalanced database </a:t>
            </a:r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marL="347345" lvl="1" algn="just" defTabSz="915067">
              <a:spcBef>
                <a:spcPts val="300"/>
              </a:spcBef>
              <a:buClr>
                <a:schemeClr val="bg2"/>
              </a:buClr>
            </a:pPr>
            <a:endParaRPr lang="en-GB" sz="110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10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 Models comparison &amp; the best model is: BERT “unfrozen”, considered then as the reference model for our study</a:t>
            </a:r>
          </a:p>
        </p:txBody>
      </p:sp>
      <p:pic>
        <p:nvPicPr>
          <p:cNvPr id="4" name="Image 3" descr="Une image contenant texte, capture d’écran, conception&#10;&#10;Description générée automatiquement">
            <a:extLst>
              <a:ext uri="{FF2B5EF4-FFF2-40B4-BE49-F238E27FC236}">
                <a16:creationId xmlns:a16="http://schemas.microsoft.com/office/drawing/2014/main" id="{2788DCF5-1B67-4589-54FC-944C0416CD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25425" y="2780041"/>
            <a:ext cx="2864818" cy="2281005"/>
          </a:xfrm>
          <a:prstGeom prst="rect">
            <a:avLst/>
          </a:prstGeom>
        </p:spPr>
      </p:pic>
      <p:pic>
        <p:nvPicPr>
          <p:cNvPr id="7" name="Image 6" descr="Une image contenant texte, capture d’écran, affichage, logiciel&#10;&#10;Description générée automatiquement">
            <a:extLst>
              <a:ext uri="{FF2B5EF4-FFF2-40B4-BE49-F238E27FC236}">
                <a16:creationId xmlns:a16="http://schemas.microsoft.com/office/drawing/2014/main" id="{7BFBC7DF-1923-2861-68FA-64D34D9F46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8455" y="2816245"/>
            <a:ext cx="3286639" cy="1909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53142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Goals 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/>
              <a:t>Department / Company / Date (menu "Insert / Header and footer" – “Insertion / En-tête et pied de page”)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1"/>
          </p:nvPr>
        </p:nvSpPr>
        <p:spPr>
          <a:xfrm>
            <a:off x="363262" y="961708"/>
            <a:ext cx="8569325" cy="3541595"/>
          </a:xfrm>
        </p:spPr>
        <p:txBody>
          <a:bodyPr lIns="91440" tIns="45720" rIns="91440" bIns="4572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The objective of the project is the same as </a:t>
            </a:r>
            <a:r>
              <a:rPr lang="en-GB" err="1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AeroBOT</a:t>
            </a:r>
            <a:r>
              <a:rPr lang="en-GB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project : texts classification by abnormal events but we would like to challenge the BERT unfrozen model !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How?</a:t>
            </a:r>
          </a:p>
          <a:p>
            <a:pPr marL="633095" lvl="1" indent="-285750"/>
            <a:r>
              <a:rPr lang="en-GB" sz="115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Compare BERT unfrozen with SafeAeroBERT and other potential models specialized in the aerospace domain</a:t>
            </a:r>
          </a:p>
          <a:p>
            <a:pPr marL="633095" lvl="1" indent="-285750"/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633095" lvl="1" indent="-285750"/>
            <a:r>
              <a:rPr lang="en-GB" sz="115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Test by using only narratives as inputs, and by adding to the narratives other information present in other columns </a:t>
            </a:r>
            <a:endParaRPr lang="en-GB" sz="115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633095" lvl="1" indent="-285750"/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633095" lvl="1" indent="-285750"/>
            <a:r>
              <a:rPr lang="en-GB" sz="115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Comparison with LLM (Large Language Model) models </a:t>
            </a:r>
            <a:endParaRPr lang="en-GB" sz="115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795655" lvl="2" indent="-285750"/>
            <a:r>
              <a:rPr lang="en-GB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By using the LLM model to do the embedding of the narratives and the labels, and to identify for each narrative the nearest label with a similarity distance (by structuring &amp; not structuring the narratives)</a:t>
            </a:r>
          </a:p>
          <a:p>
            <a:pPr marL="795655" lvl="2" indent="-285750"/>
            <a:r>
              <a:rPr lang="en-GB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By testing prompt engineering with different LLM models</a:t>
            </a:r>
          </a:p>
          <a:p>
            <a:pPr marL="795655" lvl="2" indent="-285750"/>
            <a:r>
              <a:rPr lang="en-GB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(Optional) By fine-tuning LLM models</a:t>
            </a:r>
          </a:p>
          <a:p>
            <a:pPr marL="795655" lvl="2" indent="-285750"/>
            <a:r>
              <a:rPr lang="en-GB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We can test different LLM models available on Hugging Face : LLaMa2, Mistral-7b, Vicuna, Falcon, etc.</a:t>
            </a:r>
          </a:p>
          <a:p>
            <a:pPr marL="795655" lvl="2" indent="-285750"/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633095" lvl="1" indent="-285750"/>
            <a:r>
              <a:rPr lang="en-GB" sz="115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Do the same tests on modified data (with constraints of Safran data)</a:t>
            </a:r>
          </a:p>
          <a:p>
            <a:pPr marL="795655" lvl="2" indent="-285750"/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795655" lvl="2" indent="-285750"/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795655" lvl="2" indent="-285750"/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5455865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Espace réservé pour une image  25">
            <a:extLst>
              <a:ext uri="{FF2B5EF4-FFF2-40B4-BE49-F238E27FC236}">
                <a16:creationId xmlns:a16="http://schemas.microsoft.com/office/drawing/2014/main" id="{61F22812-CA07-2295-E2E3-3C43623D6A9F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2"/>
          <a:srcRect/>
          <a:stretch/>
        </p:blipFill>
        <p:spPr>
          <a:xfrm>
            <a:off x="971" y="0"/>
            <a:ext cx="3649201" cy="5145088"/>
          </a:xfrm>
        </p:spPr>
      </p:pic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7954B7BA-2236-27D2-8293-6903062AFB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/>
              <a:t>Collaborative </a:t>
            </a:r>
            <a:r>
              <a:rPr lang="fr-FR" err="1"/>
              <a:t>work</a:t>
            </a:r>
            <a:endParaRPr lang="fr-FR"/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D8ADB256-2181-16C6-6EF8-693B28AD02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err="1"/>
              <a:t>Chapter</a:t>
            </a:r>
            <a:r>
              <a:rPr lang="fr-FR"/>
              <a:t> 4</a:t>
            </a:r>
          </a:p>
        </p:txBody>
      </p:sp>
    </p:spTree>
    <p:extLst>
      <p:ext uri="{BB962C8B-B14F-4D97-AF65-F5344CB8AC3E}">
        <p14:creationId xmlns:p14="http://schemas.microsoft.com/office/powerpoint/2010/main" val="528761273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cs typeface="Arial"/>
              </a:rPr>
              <a:t>Organization</a:t>
            </a:r>
            <a:endParaRPr lang="en-GB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/>
              <a:t>Department / Company / Date (menu "Insert / Header and footer" – “Insertion / En-tête et pied de page”)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1"/>
          </p:nvPr>
        </p:nvSpPr>
        <p:spPr/>
        <p:txBody>
          <a:bodyPr lIns="91440" tIns="45720" rIns="91440" bIns="4572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Estimated time spent on the project ? End date of the project ?</a:t>
            </a:r>
          </a:p>
          <a:p>
            <a:pPr marL="285750" indent="-285750">
              <a:buChar char="§"/>
            </a:pPr>
            <a:r>
              <a:rPr lang="en-GB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Report + presentation ? Dates ?</a:t>
            </a:r>
          </a:p>
          <a:p>
            <a:endParaRPr lang="en-GB">
              <a:solidFill>
                <a:schemeClr val="tx1">
                  <a:lumMod val="75000"/>
                  <a:lumOff val="25000"/>
                </a:schemeClr>
              </a:solidFill>
              <a:cs typeface="Arial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Weekly meeting : each Friday 14h30 ?</a:t>
            </a:r>
          </a:p>
          <a:p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08418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Planning 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/>
              <a:t>Department / Company / Date (menu "Insert / Header and footer" – “Insertion / En-tête et pied de page”)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1"/>
          </p:nvPr>
        </p:nvSpPr>
        <p:spPr>
          <a:xfrm>
            <a:off x="407359" y="814766"/>
            <a:ext cx="8569325" cy="4134517"/>
          </a:xfrm>
        </p:spPr>
        <p:txBody>
          <a:bodyPr lIns="91440" tIns="45720" rIns="91440" bIns="45720" anchor="t"/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20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17/11: </a:t>
            </a:r>
            <a:endParaRPr lang="fr-FR" sz="12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633095" lvl="1" indent="-285750" algn="just"/>
            <a:r>
              <a:rPr lang="en-GB" sz="110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Understanding of ASRS dataset: descriptive analysis of the dataset, first visualizations </a:t>
            </a:r>
            <a:endParaRPr lang="en-GB" sz="11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633095" lvl="1" indent="-285750" algn="just"/>
            <a:r>
              <a:rPr lang="en-GB" sz="110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We will provide you:</a:t>
            </a:r>
            <a:endParaRPr lang="en-GB" sz="11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795655" lvl="2" indent="-285750" algn="just"/>
            <a:r>
              <a:rPr lang="en-GB" sz="105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Bibliography on NLP/LLM</a:t>
            </a:r>
            <a:endParaRPr lang="en-GB" sz="105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795655" lvl="2" indent="-285750" algn="just"/>
            <a:r>
              <a:rPr lang="en-GB" sz="105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Notebooks on use of original BERT</a:t>
            </a:r>
            <a:endParaRPr lang="en-GB" sz="105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7345" lvl="1" indent="0" algn="just">
              <a:buClr>
                <a:srgbClr val="7D7B8D"/>
              </a:buClr>
              <a:buNone/>
            </a:pPr>
            <a:endParaRPr lang="en-GB" sz="11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20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12/01: tests of BERT unfrozen + potential models specialized in the aerospace domain (SafeAeroBERT, etc.), without/with additional information of other columns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sz="1200">
              <a:solidFill>
                <a:schemeClr val="tx1">
                  <a:lumMod val="75000"/>
                  <a:lumOff val="25000"/>
                </a:schemeClr>
              </a:solidFill>
              <a:cs typeface="Arial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200">
                <a:solidFill>
                  <a:schemeClr val="tx1">
                    <a:lumMod val="75000"/>
                    <a:lumOff val="25000"/>
                  </a:schemeClr>
                </a:solidFill>
                <a:cs typeface="Segoe UI"/>
              </a:rPr>
              <a:t>02/02: </a:t>
            </a:r>
            <a:endParaRPr lang="en-GB" sz="1200">
              <a:solidFill>
                <a:schemeClr val="tx1">
                  <a:lumMod val="75000"/>
                  <a:lumOff val="25000"/>
                </a:schemeClr>
              </a:solidFill>
              <a:cs typeface="Arial"/>
            </a:endParaRPr>
          </a:p>
          <a:p>
            <a:pPr marL="347345" lvl="1" indent="-163195" algn="just"/>
            <a:r>
              <a:rPr lang="en-GB" sz="1100">
                <a:solidFill>
                  <a:schemeClr val="tx1">
                    <a:lumMod val="75000"/>
                    <a:lumOff val="25000"/>
                  </a:schemeClr>
                </a:solidFill>
                <a:cs typeface="Segoe UI"/>
              </a:rPr>
              <a:t>tests of different LLM models (prompt engineering)</a:t>
            </a:r>
            <a:endParaRPr lang="en-GB" sz="11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7345" lvl="1" indent="-163195" algn="just"/>
            <a:r>
              <a:rPr lang="en-GB" sz="110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tests of embeddings with LLM models (structured/not structured data)</a:t>
            </a:r>
            <a:endParaRPr lang="en-GB" sz="11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7345" lvl="1" indent="-163195" algn="just"/>
            <a:r>
              <a:rPr lang="en-GB" sz="110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(optional) tests on data with constraints of Safran data</a:t>
            </a:r>
            <a:endParaRPr lang="en-GB" sz="11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84150" lvl="1" indent="0" algn="just">
              <a:buClr>
                <a:srgbClr val="7D7B8D"/>
              </a:buClr>
              <a:buNone/>
            </a:pPr>
            <a:endParaRPr lang="en-GB" sz="1100">
              <a:solidFill>
                <a:schemeClr val="tx1">
                  <a:lumMod val="75000"/>
                  <a:lumOff val="25000"/>
                </a:schemeClr>
              </a:solidFill>
              <a:cs typeface="Arial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20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01/02: writing of the report </a:t>
            </a:r>
            <a:r>
              <a:rPr lang="en-GB" sz="1200">
                <a:solidFill>
                  <a:schemeClr val="tx1">
                    <a:lumMod val="75000"/>
                    <a:lumOff val="25000"/>
                  </a:schemeClr>
                </a:solidFill>
                <a:cs typeface="Segoe UI"/>
              </a:rPr>
              <a:t>on the synthesis of the results </a:t>
            </a:r>
            <a:r>
              <a:rPr lang="en-GB" sz="120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+ Safran validation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20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22/02: report delivery date?</a:t>
            </a:r>
            <a:endParaRPr lang="en-GB" sz="12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20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29/02: presentation date?</a:t>
            </a:r>
            <a:endParaRPr lang="en-GB" sz="12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8591055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FB57298-1CBE-A0CE-2373-70B66CED8E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ea typeface="Segoe UI Black"/>
                <a:cs typeface="Arial"/>
              </a:rPr>
              <a:t>First Week (03/11/2023 - 10/11/2023)</a:t>
            </a:r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1FDC1FD-7520-D182-95C8-4BD01A921A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err="1"/>
              <a:t>Department</a:t>
            </a:r>
            <a:r>
              <a:rPr lang="fr-FR"/>
              <a:t> / </a:t>
            </a:r>
            <a:r>
              <a:rPr lang="fr-FR" err="1"/>
              <a:t>Company</a:t>
            </a:r>
            <a:r>
              <a:rPr lang="fr-FR"/>
              <a:t> / Date (menu "Insert / Header and </a:t>
            </a:r>
            <a:r>
              <a:rPr lang="fr-FR" err="1"/>
              <a:t>footer</a:t>
            </a:r>
            <a:r>
              <a:rPr lang="fr-FR"/>
              <a:t>" – “Insertion / En-tête et pied de page”)</a:t>
            </a: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6E8E6F31-0594-D5F8-A367-A8E73481BB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5004267"/>
              </p:ext>
            </p:extLst>
          </p:nvPr>
        </p:nvGraphicFramePr>
        <p:xfrm>
          <a:off x="224531" y="976638"/>
          <a:ext cx="8548731" cy="3388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2400">
                  <a:extLst>
                    <a:ext uri="{9D8B030D-6E8A-4147-A177-3AD203B41FA5}">
                      <a16:colId xmlns:a16="http://schemas.microsoft.com/office/drawing/2014/main" val="973253302"/>
                    </a:ext>
                  </a:extLst>
                </a:gridCol>
                <a:gridCol w="2007053">
                  <a:extLst>
                    <a:ext uri="{9D8B030D-6E8A-4147-A177-3AD203B41FA5}">
                      <a16:colId xmlns:a16="http://schemas.microsoft.com/office/drawing/2014/main" val="3705959081"/>
                    </a:ext>
                  </a:extLst>
                </a:gridCol>
                <a:gridCol w="2974332">
                  <a:extLst>
                    <a:ext uri="{9D8B030D-6E8A-4147-A177-3AD203B41FA5}">
                      <a16:colId xmlns:a16="http://schemas.microsoft.com/office/drawing/2014/main" val="2002980751"/>
                    </a:ext>
                  </a:extLst>
                </a:gridCol>
                <a:gridCol w="2314946">
                  <a:extLst>
                    <a:ext uri="{9D8B030D-6E8A-4147-A177-3AD203B41FA5}">
                      <a16:colId xmlns:a16="http://schemas.microsoft.com/office/drawing/2014/main" val="84705552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FR" sz="1200" dirty="0"/>
                        <a:t>Top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/>
                        <a:t>Materia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err="1"/>
                        <a:t>Tasks</a:t>
                      </a:r>
                      <a:endParaRPr lang="fr-FR" sz="1200" dirty="0" err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/>
                        <a:t>Expect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91005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70E1D"/>
                          </a:solidFill>
                          <a:latin typeface="Segoe UI"/>
                        </a:rPr>
                        <a:t>Bibliography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571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70E1D"/>
                        </a:buClr>
                        <a:buFont typeface="Arial,Sans-Serif"/>
                        <a:buChar char="•"/>
                      </a:pPr>
                      <a:r>
                        <a:rPr lang="fr-FR" sz="1200" b="0" i="0" u="none" strike="noStrike" noProof="0" dirty="0">
                          <a:solidFill>
                            <a:srgbClr val="070E1D"/>
                          </a:solidFill>
                          <a:latin typeface="Segoe UI"/>
                        </a:rPr>
                        <a:t>Papers on ASRS </a:t>
                      </a:r>
                      <a:r>
                        <a:rPr lang="fr-FR" sz="1200" b="0" i="0" u="none" strike="noStrike" noProof="0" dirty="0" err="1">
                          <a:solidFill>
                            <a:srgbClr val="070E1D"/>
                          </a:solidFill>
                          <a:latin typeface="Segoe UI"/>
                        </a:rPr>
                        <a:t>dataset</a:t>
                      </a:r>
                      <a:endParaRPr lang="en-US" sz="1200" b="0" i="0" u="none" strike="noStrike" noProof="0" dirty="0" err="1">
                        <a:solidFill>
                          <a:srgbClr val="070E1D"/>
                        </a:solidFill>
                        <a:latin typeface="Segoe UI"/>
                      </a:endParaRPr>
                    </a:p>
                    <a:p>
                      <a:pPr marL="0" marR="0" lvl="1" indent="571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70E1D"/>
                        </a:buClr>
                        <a:buFont typeface="Arial,Sans-Serif"/>
                        <a:buChar char="•"/>
                      </a:pPr>
                      <a:r>
                        <a:rPr lang="fr-FR" sz="1200" b="0" i="0" u="none" strike="noStrike" noProof="0" dirty="0">
                          <a:solidFill>
                            <a:srgbClr val="070E1D"/>
                          </a:solidFill>
                          <a:latin typeface="Segoe UI"/>
                        </a:rPr>
                        <a:t>Basic tutorial on BERT</a:t>
                      </a:r>
                      <a:endParaRPr lang="en-US" sz="1200" b="0" i="0" u="none" strike="noStrike" noProof="0" dirty="0">
                        <a:solidFill>
                          <a:srgbClr val="070E1D"/>
                        </a:solidFill>
                        <a:latin typeface="Segoe UI"/>
                      </a:endParaRPr>
                    </a:p>
                    <a:p>
                      <a:pPr marL="0" marR="0" lvl="1" indent="571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70E1D"/>
                        </a:buClr>
                        <a:buFont typeface="Arial,Sans-Serif"/>
                        <a:buChar char="•"/>
                      </a:pPr>
                      <a:r>
                        <a:rPr lang="fr-FR" sz="1200" b="0" i="0" u="none" strike="noStrike" noProof="0" dirty="0">
                          <a:solidFill>
                            <a:srgbClr val="070E1D"/>
                          </a:solidFill>
                          <a:latin typeface="Segoe UI"/>
                        </a:rPr>
                        <a:t>Basic tutorial on LLM</a:t>
                      </a:r>
                    </a:p>
                    <a:p>
                      <a:pPr marL="0" marR="0" lvl="1" indent="571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70E1D"/>
                        </a:buClr>
                        <a:buFont typeface="Arial,Sans-Serif"/>
                        <a:buChar char="•"/>
                      </a:pPr>
                      <a:r>
                        <a:rPr lang="fr-FR" sz="1200" b="0" i="0" u="none" strike="noStrike" noProof="0" dirty="0">
                          <a:solidFill>
                            <a:srgbClr val="070E1D"/>
                          </a:solidFill>
                          <a:latin typeface="Segoe UI"/>
                        </a:rPr>
                        <a:t>Or </a:t>
                      </a:r>
                      <a:r>
                        <a:rPr lang="fr-FR" sz="1200" b="0" i="0" u="none" strike="noStrike" noProof="0" dirty="0" err="1">
                          <a:solidFill>
                            <a:srgbClr val="070E1D"/>
                          </a:solidFill>
                          <a:latin typeface="Segoe UI"/>
                        </a:rPr>
                        <a:t>any</a:t>
                      </a:r>
                      <a:r>
                        <a:rPr lang="fr-FR" sz="1200" b="0" i="0" u="none" strike="noStrike" noProof="0" dirty="0">
                          <a:solidFill>
                            <a:srgbClr val="070E1D"/>
                          </a:solidFill>
                          <a:latin typeface="Segoe UI"/>
                        </a:rPr>
                        <a:t> </a:t>
                      </a:r>
                      <a:r>
                        <a:rPr lang="fr-FR" sz="1200" b="0" i="0" u="none" strike="noStrike" noProof="0" dirty="0" err="1">
                          <a:solidFill>
                            <a:srgbClr val="070E1D"/>
                          </a:solidFill>
                          <a:latin typeface="Segoe UI"/>
                        </a:rPr>
                        <a:t>other</a:t>
                      </a:r>
                      <a:r>
                        <a:rPr lang="fr-FR" sz="1200" b="0" i="0" u="none" strike="noStrike" noProof="0" dirty="0">
                          <a:solidFill>
                            <a:srgbClr val="070E1D"/>
                          </a:solidFill>
                          <a:latin typeface="Segoe UI"/>
                        </a:rPr>
                        <a:t> </a:t>
                      </a:r>
                      <a:r>
                        <a:rPr lang="fr-FR" sz="1200" b="0" i="0" u="none" strike="noStrike" noProof="0" dirty="0" err="1">
                          <a:solidFill>
                            <a:srgbClr val="070E1D"/>
                          </a:solidFill>
                          <a:latin typeface="Segoe UI"/>
                        </a:rPr>
                        <a:t>materials</a:t>
                      </a:r>
                      <a:r>
                        <a:rPr lang="fr-FR" sz="1200" b="0" i="0" u="none" strike="noStrike" noProof="0" dirty="0">
                          <a:solidFill>
                            <a:srgbClr val="070E1D"/>
                          </a:solidFill>
                          <a:latin typeface="Segoe UI"/>
                        </a:rPr>
                        <a:t>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571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70E1D"/>
                        </a:buClr>
                        <a:buFont typeface="Arial,Sans-Serif"/>
                        <a:buChar char="•"/>
                      </a:pPr>
                      <a:r>
                        <a:rPr lang="fr-FR" sz="1200" b="0" i="0" u="none" strike="noStrike" noProof="0" dirty="0">
                          <a:solidFill>
                            <a:srgbClr val="070E1D"/>
                          </a:solidFill>
                          <a:latin typeface="Segoe UI"/>
                        </a:rPr>
                        <a:t>Quick </a:t>
                      </a:r>
                      <a:r>
                        <a:rPr lang="fr-FR" sz="1200" b="0" i="0" u="none" strike="noStrike" noProof="0" dirty="0" err="1">
                          <a:solidFill>
                            <a:srgbClr val="070E1D"/>
                          </a:solidFill>
                          <a:latin typeface="Segoe UI"/>
                        </a:rPr>
                        <a:t>read</a:t>
                      </a:r>
                      <a:r>
                        <a:rPr lang="fr-FR" sz="1200" b="0" i="0" u="none" strike="noStrike" noProof="0" dirty="0">
                          <a:solidFill>
                            <a:srgbClr val="070E1D"/>
                          </a:solidFill>
                          <a:latin typeface="Segoe UI"/>
                        </a:rPr>
                        <a:t> of </a:t>
                      </a:r>
                      <a:r>
                        <a:rPr lang="fr-FR" sz="1200" b="0" i="0" u="none" strike="noStrike" noProof="0" dirty="0" err="1">
                          <a:solidFill>
                            <a:srgbClr val="070E1D"/>
                          </a:solidFill>
                          <a:latin typeface="Segoe UI"/>
                        </a:rPr>
                        <a:t>papers</a:t>
                      </a:r>
                      <a:r>
                        <a:rPr lang="fr-FR" sz="1200" b="0" i="0" u="none" strike="noStrike" noProof="0" dirty="0">
                          <a:solidFill>
                            <a:srgbClr val="070E1D"/>
                          </a:solidFill>
                          <a:latin typeface="Segoe UI"/>
                        </a:rPr>
                        <a:t> + </a:t>
                      </a:r>
                      <a:r>
                        <a:rPr lang="fr-FR" sz="1200" b="0" i="0" u="none" strike="noStrike" noProof="0" dirty="0" err="1">
                          <a:solidFill>
                            <a:srgbClr val="070E1D"/>
                          </a:solidFill>
                          <a:latin typeface="Segoe UI"/>
                        </a:rPr>
                        <a:t>tutorials</a:t>
                      </a:r>
                      <a:r>
                        <a:rPr lang="fr-FR" sz="1200" b="0" i="0" u="none" strike="noStrike" noProof="0" dirty="0">
                          <a:solidFill>
                            <a:srgbClr val="070E1D"/>
                          </a:solidFill>
                          <a:latin typeface="Segoe UI"/>
                        </a:rPr>
                        <a:t> (and </a:t>
                      </a:r>
                      <a:r>
                        <a:rPr lang="fr-FR" sz="1200" b="0" i="0" u="none" strike="noStrike" noProof="0" dirty="0" err="1">
                          <a:solidFill>
                            <a:srgbClr val="070E1D"/>
                          </a:solidFill>
                          <a:latin typeface="Segoe UI"/>
                        </a:rPr>
                        <a:t>beyond</a:t>
                      </a:r>
                      <a:r>
                        <a:rPr lang="fr-FR" sz="1200" b="0" i="0" u="none" strike="noStrike" noProof="0" dirty="0">
                          <a:solidFill>
                            <a:srgbClr val="070E1D"/>
                          </a:solidFill>
                          <a:latin typeface="Segoe UI"/>
                        </a:rPr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Calibri"/>
                        <a:buChar char="-"/>
                      </a:pPr>
                      <a:r>
                        <a:rPr lang="fr-FR" sz="1200" dirty="0"/>
                        <a:t>Basic </a:t>
                      </a:r>
                      <a:r>
                        <a:rPr lang="fr-FR" sz="1200" dirty="0" err="1"/>
                        <a:t>understanding</a:t>
                      </a:r>
                      <a:r>
                        <a:rPr lang="fr-FR" sz="1200" dirty="0"/>
                        <a:t> of concepts.</a:t>
                      </a:r>
                    </a:p>
                    <a:p>
                      <a:pPr marL="171450" lvl="0" indent="-171450">
                        <a:buFont typeface="Calibri"/>
                        <a:buChar char="-"/>
                      </a:pPr>
                      <a:r>
                        <a:rPr lang="fr-FR" sz="1200" dirty="0" err="1"/>
                        <a:t>Prepare</a:t>
                      </a:r>
                      <a:r>
                        <a:rPr lang="fr-FR" sz="1200" dirty="0"/>
                        <a:t> questions (sent by emails)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95629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200" dirty="0"/>
                        <a:t>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/>
                        <a:t>Link of </a:t>
                      </a:r>
                      <a:r>
                        <a:rPr lang="fr-FR" sz="1200" dirty="0" err="1"/>
                        <a:t>datas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/>
                        <a:t>Download </a:t>
                      </a:r>
                      <a:r>
                        <a:rPr lang="fr-FR" sz="1200" dirty="0" err="1"/>
                        <a:t>dataset</a:t>
                      </a:r>
                    </a:p>
                    <a:p>
                      <a:pPr lvl="0">
                        <a:buNone/>
                      </a:pPr>
                      <a:r>
                        <a:rPr lang="fr-FR" sz="1200" dirty="0" err="1"/>
                        <a:t>Prepare</a:t>
                      </a:r>
                      <a:r>
                        <a:rPr lang="fr-FR" sz="1200" dirty="0"/>
                        <a:t> a notebook for basic </a:t>
                      </a:r>
                      <a:r>
                        <a:rPr lang="fr-FR" sz="1200" dirty="0" err="1"/>
                        <a:t>pre-processing</a:t>
                      </a:r>
                      <a:r>
                        <a:rPr lang="fr-FR" sz="1200" dirty="0"/>
                        <a:t> and </a:t>
                      </a:r>
                      <a:r>
                        <a:rPr lang="fr-FR" sz="1200" dirty="0" err="1"/>
                        <a:t>visualization</a:t>
                      </a:r>
                      <a:r>
                        <a:rPr lang="fr-FR" sz="1200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Calibri"/>
                        <a:buChar char="-"/>
                      </a:pPr>
                      <a:r>
                        <a:rPr lang="fr-FR" sz="1200" dirty="0"/>
                        <a:t>Basic </a:t>
                      </a:r>
                      <a:r>
                        <a:rPr lang="fr-FR" sz="1200" dirty="0" err="1"/>
                        <a:t>understanding</a:t>
                      </a:r>
                      <a:r>
                        <a:rPr lang="fr-FR" sz="1200" dirty="0"/>
                        <a:t> of the </a:t>
                      </a:r>
                      <a:r>
                        <a:rPr lang="fr-FR" sz="1200" dirty="0" err="1"/>
                        <a:t>dataset</a:t>
                      </a:r>
                    </a:p>
                    <a:p>
                      <a:pPr marL="171450" lvl="0" indent="-171450">
                        <a:buFont typeface="Calibri"/>
                        <a:buChar char="-"/>
                      </a:pPr>
                      <a:r>
                        <a:rPr lang="fr-FR" sz="1200" dirty="0" err="1"/>
                        <a:t>Exploring</a:t>
                      </a:r>
                      <a:r>
                        <a:rPr lang="fr-FR" sz="1200" dirty="0"/>
                        <a:t> </a:t>
                      </a:r>
                      <a:r>
                        <a:rPr lang="fr-FR" sz="1200" dirty="0" err="1"/>
                        <a:t>characteristics</a:t>
                      </a:r>
                      <a:r>
                        <a:rPr lang="fr-FR" sz="1200" dirty="0"/>
                        <a:t> of input narratives + </a:t>
                      </a:r>
                      <a:r>
                        <a:rPr lang="fr-FR" sz="1200" dirty="0" err="1"/>
                        <a:t>Creating</a:t>
                      </a:r>
                      <a:r>
                        <a:rPr lang="fr-FR" sz="1200" dirty="0"/>
                        <a:t> label </a:t>
                      </a:r>
                      <a:r>
                        <a:rPr lang="fr-FR" sz="1200" dirty="0" err="1"/>
                        <a:t>vect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6973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70E1D"/>
                          </a:solidFill>
                          <a:latin typeface="Segoe UI"/>
                        </a:rPr>
                        <a:t>Notebook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571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70E1D"/>
                        </a:buClr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70E1D"/>
                          </a:solidFill>
                          <a:latin typeface="Segoe UI"/>
                        </a:rPr>
                        <a:t>A Tutorial on Bert (</a:t>
                      </a:r>
                      <a:r>
                        <a:rPr lang="fr-FR" sz="1200" b="0" i="0" u="none" strike="noStrike" noProof="0" dirty="0" err="1">
                          <a:solidFill>
                            <a:srgbClr val="070E1D"/>
                          </a:solidFill>
                          <a:latin typeface="Segoe UI"/>
                        </a:rPr>
                        <a:t>frozen</a:t>
                      </a:r>
                      <a:r>
                        <a:rPr lang="fr-FR" sz="1200" b="0" i="0" u="none" strike="noStrike" noProof="0" dirty="0">
                          <a:solidFill>
                            <a:srgbClr val="070E1D"/>
                          </a:solidFill>
                          <a:latin typeface="Segoe UI"/>
                        </a:rPr>
                        <a:t>) </a:t>
                      </a:r>
                      <a:r>
                        <a:rPr lang="fr-FR" sz="1200" b="0" i="0" u="none" strike="noStrike" noProof="0" dirty="0" err="1">
                          <a:solidFill>
                            <a:srgbClr val="070E1D"/>
                          </a:solidFill>
                          <a:latin typeface="Segoe UI"/>
                        </a:rPr>
                        <a:t>with</a:t>
                      </a:r>
                      <a:r>
                        <a:rPr lang="fr-FR" sz="1200" b="0" i="0" u="none" strike="noStrike" noProof="0" dirty="0">
                          <a:solidFill>
                            <a:srgbClr val="070E1D"/>
                          </a:solidFill>
                          <a:latin typeface="Segoe UI"/>
                        </a:rPr>
                        <a:t> multiple-labels on a </a:t>
                      </a:r>
                      <a:r>
                        <a:rPr lang="fr-FR" sz="1200" b="0" i="0" u="none" strike="noStrike" noProof="0" dirty="0" err="1">
                          <a:solidFill>
                            <a:srgbClr val="070E1D"/>
                          </a:solidFill>
                          <a:latin typeface="Segoe UI"/>
                        </a:rPr>
                        <a:t>sampled</a:t>
                      </a:r>
                      <a:r>
                        <a:rPr lang="fr-FR" sz="1200" b="0" i="0" u="none" strike="noStrike" noProof="0" dirty="0">
                          <a:solidFill>
                            <a:srgbClr val="070E1D"/>
                          </a:solidFill>
                          <a:latin typeface="Segoe UI"/>
                        </a:rPr>
                        <a:t> </a:t>
                      </a:r>
                      <a:r>
                        <a:rPr lang="fr-FR" sz="1200" b="0" i="0" u="none" strike="noStrike" noProof="0" dirty="0" err="1">
                          <a:solidFill>
                            <a:srgbClr val="070E1D"/>
                          </a:solidFill>
                          <a:latin typeface="Segoe UI"/>
                        </a:rPr>
                        <a:t>dataset</a:t>
                      </a:r>
                      <a:endParaRPr lang="en-US" sz="1200" b="0" i="0" u="none" strike="noStrike" noProof="0" dirty="0" err="1">
                        <a:solidFill>
                          <a:srgbClr val="070E1D"/>
                        </a:solidFill>
                        <a:latin typeface="Segoe UI"/>
                      </a:endParaRPr>
                    </a:p>
                    <a:p>
                      <a:pPr marL="628650" marR="0" lvl="1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70E1D"/>
                        </a:buClr>
                        <a:buFont typeface="Arial,Sans-Serif"/>
                        <a:buChar char="•"/>
                      </a:pPr>
                      <a:endParaRPr lang="fr-FR" sz="1200" b="0" i="0" u="none" strike="noStrike" noProof="0">
                        <a:solidFill>
                          <a:srgbClr val="070E1D"/>
                        </a:solidFill>
                        <a:latin typeface="Segoe UI"/>
                      </a:endParaRPr>
                    </a:p>
                    <a:p>
                      <a:pPr lvl="0">
                        <a:buNone/>
                      </a:pPr>
                      <a:endParaRPr lang="fr-FR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Calibri"/>
                        <a:buChar char="-"/>
                      </a:pPr>
                      <a:r>
                        <a:rPr lang="fr-FR" sz="1200" dirty="0"/>
                        <a:t>Install packages for running the notebook</a:t>
                      </a:r>
                    </a:p>
                    <a:p>
                      <a:pPr marL="171450" lvl="0" indent="-171450">
                        <a:buFont typeface="Calibri"/>
                        <a:buChar char="-"/>
                      </a:pPr>
                      <a:r>
                        <a:rPr lang="fr-FR" sz="1200" dirty="0"/>
                        <a:t>(if possible) Launch Bert </a:t>
                      </a:r>
                      <a:r>
                        <a:rPr lang="fr-FR" sz="1200" dirty="0" err="1"/>
                        <a:t>frozen</a:t>
                      </a:r>
                      <a:r>
                        <a:rPr lang="fr-FR" sz="1200" dirty="0"/>
                        <a:t> on ASRS </a:t>
                      </a:r>
                      <a:r>
                        <a:rPr lang="fr-FR" sz="1200" dirty="0" err="1"/>
                        <a:t>dataset</a:t>
                      </a:r>
                      <a:r>
                        <a:rPr lang="fr-FR" sz="1200" dirty="0"/>
                        <a:t> and check the perform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Calibri"/>
                        <a:buChar char="-"/>
                      </a:pPr>
                      <a:r>
                        <a:rPr lang="fr-FR" sz="1200" dirty="0" err="1"/>
                        <a:t>See</a:t>
                      </a:r>
                      <a:r>
                        <a:rPr lang="fr-FR" sz="1200" dirty="0"/>
                        <a:t> the power and limitation of Bert.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0348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07407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FDA6156-949B-AA03-92C0-CF2842C456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/>
              <a:t>Department / Company / Date (menu "Insert / Header and footer" – “Insertion / En-tête et pied de page”)</a:t>
            </a:r>
          </a:p>
        </p:txBody>
      </p:sp>
    </p:spTree>
    <p:extLst>
      <p:ext uri="{BB962C8B-B14F-4D97-AF65-F5344CB8AC3E}">
        <p14:creationId xmlns:p14="http://schemas.microsoft.com/office/powerpoint/2010/main" val="355474406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Espace réservé pour une image  25">
            <a:extLst>
              <a:ext uri="{FF2B5EF4-FFF2-40B4-BE49-F238E27FC236}">
                <a16:creationId xmlns:a16="http://schemas.microsoft.com/office/drawing/2014/main" id="{61F22812-CA07-2295-E2E3-3C43623D6A9F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2"/>
          <a:srcRect/>
          <a:stretch/>
        </p:blipFill>
        <p:spPr>
          <a:xfrm>
            <a:off x="971" y="0"/>
            <a:ext cx="3649201" cy="5145088"/>
          </a:xfrm>
        </p:spPr>
      </p:pic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7954B7BA-2236-27D2-8293-6903062AFB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/>
              <a:t>Presentation </a:t>
            </a:r>
            <a:endParaRPr lang="fr-FR"/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D8ADB256-2181-16C6-6EF8-693B28AD02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err="1"/>
              <a:t>Chapter</a:t>
            </a:r>
            <a:r>
              <a:rPr lang="fr-FR"/>
              <a:t> 1</a:t>
            </a:r>
          </a:p>
        </p:txBody>
      </p:sp>
    </p:spTree>
    <p:extLst>
      <p:ext uri="{BB962C8B-B14F-4D97-AF65-F5344CB8AC3E}">
        <p14:creationId xmlns:p14="http://schemas.microsoft.com/office/powerpoint/2010/main" val="4130038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resentation 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/>
              <a:t>Department / Company / Date (menu "Insert / Header and footer" – “Insertion / En-tête et pied de page”)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3113" y="1501842"/>
            <a:ext cx="1009650" cy="1133475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4341" y="1501842"/>
            <a:ext cx="1121790" cy="1133475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57709" y="1501842"/>
            <a:ext cx="1149587" cy="113622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1063995" y="2740647"/>
            <a:ext cx="1407885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fr-FR" sz="1200"/>
              <a:t>Dong-Quan </a:t>
            </a:r>
          </a:p>
          <a:p>
            <a:pPr algn="ctr"/>
            <a:r>
              <a:rPr lang="fr-FR" sz="1200"/>
              <a:t>Vu 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3761293" y="2740646"/>
            <a:ext cx="14078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/>
              <a:t>Jean-Frédéric </a:t>
            </a:r>
            <a:r>
              <a:rPr lang="fr-FR" sz="1200" err="1"/>
              <a:t>Diebold</a:t>
            </a:r>
            <a:endParaRPr lang="fr-FR" sz="1200"/>
          </a:p>
        </p:txBody>
      </p:sp>
      <p:sp>
        <p:nvSpPr>
          <p:cNvPr id="12" name="ZoneTexte 11"/>
          <p:cNvSpPr txBox="1"/>
          <p:nvPr/>
        </p:nvSpPr>
        <p:spPr>
          <a:xfrm>
            <a:off x="6528559" y="2740646"/>
            <a:ext cx="14078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/>
              <a:t>Céline </a:t>
            </a:r>
          </a:p>
          <a:p>
            <a:pPr algn="ctr"/>
            <a:r>
              <a:rPr lang="fr-FR" sz="1200"/>
              <a:t>Berthou</a:t>
            </a:r>
          </a:p>
        </p:txBody>
      </p:sp>
    </p:spTree>
    <p:extLst>
      <p:ext uri="{BB962C8B-B14F-4D97-AF65-F5344CB8AC3E}">
        <p14:creationId xmlns:p14="http://schemas.microsoft.com/office/powerpoint/2010/main" val="16739380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Espace réservé pour une image  25">
            <a:extLst>
              <a:ext uri="{FF2B5EF4-FFF2-40B4-BE49-F238E27FC236}">
                <a16:creationId xmlns:a16="http://schemas.microsoft.com/office/drawing/2014/main" id="{61F22812-CA07-2295-E2E3-3C43623D6A9F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2"/>
          <a:srcRect/>
          <a:stretch/>
        </p:blipFill>
        <p:spPr>
          <a:xfrm>
            <a:off x="971" y="0"/>
            <a:ext cx="3649201" cy="5145088"/>
          </a:xfrm>
        </p:spPr>
      </p:pic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7954B7BA-2236-27D2-8293-6903062AFB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0" tIns="45720" rIns="91440" bIns="45720" anchor="ctr" anchorCtr="0">
            <a:noAutofit/>
          </a:bodyPr>
          <a:lstStyle/>
          <a:p>
            <a:r>
              <a:rPr lang="en-GB">
                <a:cs typeface="Arial"/>
              </a:rPr>
              <a:t>Safran presentation</a:t>
            </a:r>
            <a:endParaRPr lang="en-GB">
              <a:ea typeface="Segoe UI Black"/>
              <a:cs typeface="Arial"/>
            </a:endParaRP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D8ADB256-2181-16C6-6EF8-693B28AD02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err="1"/>
              <a:t>Chapter</a:t>
            </a:r>
            <a:r>
              <a:rPr lang="fr-FR"/>
              <a:t> 2</a:t>
            </a:r>
          </a:p>
        </p:txBody>
      </p:sp>
    </p:spTree>
    <p:extLst>
      <p:ext uri="{BB962C8B-B14F-4D97-AF65-F5344CB8AC3E}">
        <p14:creationId xmlns:p14="http://schemas.microsoft.com/office/powerpoint/2010/main" val="34905740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SAFRAN TECH </a:t>
            </a:r>
            <a:r>
              <a:rPr lang="en-US"/>
              <a:t>at the core of the digital transformation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>
                <a:solidFill>
                  <a:srgbClr val="525668"/>
                </a:solidFill>
                <a:latin typeface="Arial"/>
              </a:rPr>
              <a:pPr/>
              <a:t>5</a:t>
            </a:fld>
            <a:endParaRPr lang="fr-FR">
              <a:solidFill>
                <a:srgbClr val="525668"/>
              </a:solidFill>
              <a:latin typeface="Arial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6285" y="3869492"/>
            <a:ext cx="496860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16112" lvl="2" indent="-171450" defTabSz="914378">
              <a:spcBef>
                <a:spcPts val="600"/>
              </a:spcBef>
              <a:spcAft>
                <a:spcPts val="600"/>
              </a:spcAft>
              <a:buClr>
                <a:srgbClr val="7E9BC0"/>
              </a:buClr>
              <a:buSzPct val="100000"/>
              <a:buFont typeface="Arial Black" panose="020B0A04020102020204" pitchFamily="34" charset="0"/>
              <a:buChar char="&gt;"/>
              <a:defRPr/>
            </a:pPr>
            <a:r>
              <a:rPr lang="en-US" sz="1200" kern="0">
                <a:solidFill>
                  <a:srgbClr val="525668"/>
                </a:solidFill>
                <a:latin typeface="Arial"/>
              </a:rPr>
              <a:t>Models and simulation, </a:t>
            </a:r>
          </a:p>
          <a:p>
            <a:pPr marL="316112" lvl="2" indent="-171450" defTabSz="914378">
              <a:spcBef>
                <a:spcPts val="600"/>
              </a:spcBef>
              <a:spcAft>
                <a:spcPts val="600"/>
              </a:spcAft>
              <a:buClr>
                <a:srgbClr val="7E9BC0"/>
              </a:buClr>
              <a:buSzPct val="100000"/>
              <a:buFont typeface="Arial Black" panose="020B0A04020102020204" pitchFamily="34" charset="0"/>
              <a:buChar char="&gt;"/>
              <a:defRPr/>
            </a:pPr>
            <a:r>
              <a:rPr lang="en-US" sz="1200" kern="0">
                <a:solidFill>
                  <a:srgbClr val="525668"/>
                </a:solidFill>
                <a:latin typeface="Arial"/>
              </a:rPr>
              <a:t>Sensors technologies, </a:t>
            </a:r>
          </a:p>
          <a:p>
            <a:pPr marL="316112" lvl="2" indent="-171450" defTabSz="914378">
              <a:spcBef>
                <a:spcPts val="600"/>
              </a:spcBef>
              <a:spcAft>
                <a:spcPts val="600"/>
              </a:spcAft>
              <a:buClr>
                <a:srgbClr val="7E9BC0"/>
              </a:buClr>
              <a:buSzPct val="100000"/>
              <a:buFont typeface="Arial Black" panose="020B0A04020102020204" pitchFamily="34" charset="0"/>
              <a:buChar char="&gt;"/>
              <a:defRPr/>
            </a:pPr>
            <a:r>
              <a:rPr lang="en-US" sz="1200" kern="0">
                <a:solidFill>
                  <a:srgbClr val="525668"/>
                </a:solidFill>
                <a:latin typeface="Arial"/>
              </a:rPr>
              <a:t>Signal, Image and data processing.</a:t>
            </a:r>
          </a:p>
        </p:txBody>
      </p:sp>
      <p:sp>
        <p:nvSpPr>
          <p:cNvPr id="10" name="Rectangle 9"/>
          <p:cNvSpPr/>
          <p:nvPr/>
        </p:nvSpPr>
        <p:spPr>
          <a:xfrm>
            <a:off x="152290" y="3021073"/>
            <a:ext cx="564114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defRPr/>
            </a:pPr>
            <a:r>
              <a:rPr lang="en-US" sz="1400">
                <a:solidFill>
                  <a:srgbClr val="014491"/>
                </a:solidFill>
                <a:latin typeface="Arial"/>
              </a:rPr>
              <a:t>Safran Tech contributes to the development of know-how and technologies responding to the technical challenges and challenges of digitalization, in particular through :</a:t>
            </a: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C26C9920-2A01-4E0F-BDC0-38AD5B07EE6F}"/>
              </a:ext>
            </a:extLst>
          </p:cNvPr>
          <p:cNvGrpSpPr/>
          <p:nvPr/>
        </p:nvGrpSpPr>
        <p:grpSpPr>
          <a:xfrm>
            <a:off x="5970758" y="2846143"/>
            <a:ext cx="2681747" cy="1807640"/>
            <a:chOff x="5922572" y="1475587"/>
            <a:chExt cx="2977702" cy="2113895"/>
          </a:xfrm>
        </p:grpSpPr>
        <p:sp>
          <p:nvSpPr>
            <p:cNvPr id="15" name="Forme libre 14">
              <a:extLst>
                <a:ext uri="{FF2B5EF4-FFF2-40B4-BE49-F238E27FC236}">
                  <a16:creationId xmlns:a16="http://schemas.microsoft.com/office/drawing/2014/main" id="{AD032452-B165-4C6C-BCDA-C6C17C70E444}"/>
                </a:ext>
              </a:extLst>
            </p:cNvPr>
            <p:cNvSpPr/>
            <p:nvPr/>
          </p:nvSpPr>
          <p:spPr>
            <a:xfrm>
              <a:off x="6611492" y="3201282"/>
              <a:ext cx="1627993" cy="388200"/>
            </a:xfrm>
            <a:custGeom>
              <a:avLst/>
              <a:gdLst>
                <a:gd name="connsiteX0" fmla="*/ 0 w 1700784"/>
                <a:gd name="connsiteY0" fmla="*/ 0 h 365760"/>
                <a:gd name="connsiteX1" fmla="*/ 950976 w 1700784"/>
                <a:gd name="connsiteY1" fmla="*/ 365760 h 365760"/>
                <a:gd name="connsiteX2" fmla="*/ 1700784 w 1700784"/>
                <a:gd name="connsiteY2" fmla="*/ 0 h 365760"/>
                <a:gd name="connsiteX0" fmla="*/ 0 w 1700784"/>
                <a:gd name="connsiteY0" fmla="*/ 0 h 365760"/>
                <a:gd name="connsiteX1" fmla="*/ 923544 w 1700784"/>
                <a:gd name="connsiteY1" fmla="*/ 365760 h 365760"/>
                <a:gd name="connsiteX2" fmla="*/ 1700784 w 1700784"/>
                <a:gd name="connsiteY2" fmla="*/ 0 h 365760"/>
                <a:gd name="connsiteX0" fmla="*/ 0 w 1700784"/>
                <a:gd name="connsiteY0" fmla="*/ 0 h 365760"/>
                <a:gd name="connsiteX1" fmla="*/ 923544 w 1700784"/>
                <a:gd name="connsiteY1" fmla="*/ 365760 h 365760"/>
                <a:gd name="connsiteX2" fmla="*/ 1700784 w 1700784"/>
                <a:gd name="connsiteY2" fmla="*/ 0 h 365760"/>
                <a:gd name="connsiteX0" fmla="*/ 0 w 1700784"/>
                <a:gd name="connsiteY0" fmla="*/ 0 h 365760"/>
                <a:gd name="connsiteX1" fmla="*/ 923544 w 1700784"/>
                <a:gd name="connsiteY1" fmla="*/ 365760 h 365760"/>
                <a:gd name="connsiteX2" fmla="*/ 1700784 w 1700784"/>
                <a:gd name="connsiteY2" fmla="*/ 0 h 365760"/>
                <a:gd name="connsiteX0" fmla="*/ 0 w 1700784"/>
                <a:gd name="connsiteY0" fmla="*/ 0 h 365760"/>
                <a:gd name="connsiteX1" fmla="*/ 923544 w 1700784"/>
                <a:gd name="connsiteY1" fmla="*/ 365760 h 365760"/>
                <a:gd name="connsiteX2" fmla="*/ 1700784 w 1700784"/>
                <a:gd name="connsiteY2" fmla="*/ 0 h 365760"/>
                <a:gd name="connsiteX0" fmla="*/ 0 w 1700784"/>
                <a:gd name="connsiteY0" fmla="*/ 0 h 365760"/>
                <a:gd name="connsiteX1" fmla="*/ 923544 w 1700784"/>
                <a:gd name="connsiteY1" fmla="*/ 365760 h 365760"/>
                <a:gd name="connsiteX2" fmla="*/ 1700784 w 1700784"/>
                <a:gd name="connsiteY2" fmla="*/ 0 h 365760"/>
                <a:gd name="connsiteX0" fmla="*/ 0 w 1792224"/>
                <a:gd name="connsiteY0" fmla="*/ 0 h 466344"/>
                <a:gd name="connsiteX1" fmla="*/ 1014984 w 1792224"/>
                <a:gd name="connsiteY1" fmla="*/ 466344 h 466344"/>
                <a:gd name="connsiteX2" fmla="*/ 1792224 w 1792224"/>
                <a:gd name="connsiteY2" fmla="*/ 100584 h 466344"/>
                <a:gd name="connsiteX0" fmla="*/ 0 w 1956816"/>
                <a:gd name="connsiteY0" fmla="*/ 0 h 466344"/>
                <a:gd name="connsiteX1" fmla="*/ 1014984 w 1956816"/>
                <a:gd name="connsiteY1" fmla="*/ 466344 h 466344"/>
                <a:gd name="connsiteX2" fmla="*/ 1956816 w 1956816"/>
                <a:gd name="connsiteY2" fmla="*/ 9144 h 466344"/>
                <a:gd name="connsiteX0" fmla="*/ 0 w 1956816"/>
                <a:gd name="connsiteY0" fmla="*/ 0 h 466344"/>
                <a:gd name="connsiteX1" fmla="*/ 1014984 w 1956816"/>
                <a:gd name="connsiteY1" fmla="*/ 466344 h 466344"/>
                <a:gd name="connsiteX2" fmla="*/ 1956816 w 1956816"/>
                <a:gd name="connsiteY2" fmla="*/ 9144 h 466344"/>
                <a:gd name="connsiteX0" fmla="*/ 0 w 1956816"/>
                <a:gd name="connsiteY0" fmla="*/ 0 h 466344"/>
                <a:gd name="connsiteX1" fmla="*/ 1014984 w 1956816"/>
                <a:gd name="connsiteY1" fmla="*/ 466344 h 466344"/>
                <a:gd name="connsiteX2" fmla="*/ 1956816 w 1956816"/>
                <a:gd name="connsiteY2" fmla="*/ 9144 h 466344"/>
                <a:gd name="connsiteX0" fmla="*/ 0 w 1956816"/>
                <a:gd name="connsiteY0" fmla="*/ 0 h 466609"/>
                <a:gd name="connsiteX1" fmla="*/ 1014984 w 1956816"/>
                <a:gd name="connsiteY1" fmla="*/ 466344 h 466609"/>
                <a:gd name="connsiteX2" fmla="*/ 1956816 w 1956816"/>
                <a:gd name="connsiteY2" fmla="*/ 9144 h 466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56816" h="466609">
                  <a:moveTo>
                    <a:pt x="0" y="0"/>
                  </a:moveTo>
                  <a:cubicBezTo>
                    <a:pt x="342900" y="274320"/>
                    <a:pt x="630936" y="457200"/>
                    <a:pt x="1014984" y="466344"/>
                  </a:cubicBezTo>
                  <a:cubicBezTo>
                    <a:pt x="1408176" y="475488"/>
                    <a:pt x="1677924" y="246888"/>
                    <a:pt x="1956816" y="9144"/>
                  </a:cubicBezTo>
                </a:path>
              </a:pathLst>
            </a:custGeom>
            <a:noFill/>
            <a:ln w="127000">
              <a:headEnd type="triangl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6" name="Forme libre 15">
              <a:extLst>
                <a:ext uri="{FF2B5EF4-FFF2-40B4-BE49-F238E27FC236}">
                  <a16:creationId xmlns:a16="http://schemas.microsoft.com/office/drawing/2014/main" id="{2C277C9F-A8A1-4DD5-8CA4-890985EEACC8}"/>
                </a:ext>
              </a:extLst>
            </p:cNvPr>
            <p:cNvSpPr/>
            <p:nvPr/>
          </p:nvSpPr>
          <p:spPr>
            <a:xfrm flipH="1">
              <a:off x="7823191" y="1639389"/>
              <a:ext cx="612416" cy="1346517"/>
            </a:xfrm>
            <a:custGeom>
              <a:avLst/>
              <a:gdLst>
                <a:gd name="connsiteX0" fmla="*/ 58159 w 588511"/>
                <a:gd name="connsiteY0" fmla="*/ 1371600 h 1371600"/>
                <a:gd name="connsiteX1" fmla="*/ 49015 w 588511"/>
                <a:gd name="connsiteY1" fmla="*/ 594360 h 1371600"/>
                <a:gd name="connsiteX2" fmla="*/ 588511 w 588511"/>
                <a:gd name="connsiteY2" fmla="*/ 0 h 1371600"/>
                <a:gd name="connsiteX0" fmla="*/ 73228 w 603580"/>
                <a:gd name="connsiteY0" fmla="*/ 1371600 h 1371600"/>
                <a:gd name="connsiteX1" fmla="*/ 64084 w 603580"/>
                <a:gd name="connsiteY1" fmla="*/ 594360 h 1371600"/>
                <a:gd name="connsiteX2" fmla="*/ 603580 w 603580"/>
                <a:gd name="connsiteY2" fmla="*/ 0 h 1371600"/>
                <a:gd name="connsiteX0" fmla="*/ 60359 w 590711"/>
                <a:gd name="connsiteY0" fmla="*/ 1371600 h 1371600"/>
                <a:gd name="connsiteX1" fmla="*/ 78647 w 590711"/>
                <a:gd name="connsiteY1" fmla="*/ 576072 h 1371600"/>
                <a:gd name="connsiteX2" fmla="*/ 590711 w 590711"/>
                <a:gd name="connsiteY2" fmla="*/ 0 h 1371600"/>
                <a:gd name="connsiteX0" fmla="*/ 60359 w 746159"/>
                <a:gd name="connsiteY0" fmla="*/ 1472184 h 1472184"/>
                <a:gd name="connsiteX1" fmla="*/ 78647 w 746159"/>
                <a:gd name="connsiteY1" fmla="*/ 676656 h 1472184"/>
                <a:gd name="connsiteX2" fmla="*/ 746159 w 746159"/>
                <a:gd name="connsiteY2" fmla="*/ 0 h 1472184"/>
                <a:gd name="connsiteX0" fmla="*/ 68600 w 736112"/>
                <a:gd name="connsiteY0" fmla="*/ 1618488 h 1618488"/>
                <a:gd name="connsiteX1" fmla="*/ 68600 w 736112"/>
                <a:gd name="connsiteY1" fmla="*/ 676656 h 1618488"/>
                <a:gd name="connsiteX2" fmla="*/ 736112 w 736112"/>
                <a:gd name="connsiteY2" fmla="*/ 0 h 1618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6112" h="1618488">
                  <a:moveTo>
                    <a:pt x="68600" y="1618488"/>
                  </a:moveTo>
                  <a:cubicBezTo>
                    <a:pt x="-25888" y="1143000"/>
                    <a:pt x="-19792" y="905256"/>
                    <a:pt x="68600" y="676656"/>
                  </a:cubicBezTo>
                  <a:cubicBezTo>
                    <a:pt x="156992" y="448056"/>
                    <a:pt x="510560" y="182880"/>
                    <a:pt x="736112" y="0"/>
                  </a:cubicBezTo>
                </a:path>
              </a:pathLst>
            </a:custGeom>
            <a:noFill/>
            <a:ln w="127000">
              <a:headEnd type="triangle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7" name="Forme libre 16">
              <a:extLst>
                <a:ext uri="{FF2B5EF4-FFF2-40B4-BE49-F238E27FC236}">
                  <a16:creationId xmlns:a16="http://schemas.microsoft.com/office/drawing/2014/main" id="{790B6E3C-3E95-4A09-93CE-ACE5C79424DD}"/>
                </a:ext>
              </a:extLst>
            </p:cNvPr>
            <p:cNvSpPr/>
            <p:nvPr/>
          </p:nvSpPr>
          <p:spPr>
            <a:xfrm>
              <a:off x="6431485" y="1647727"/>
              <a:ext cx="612416" cy="1346517"/>
            </a:xfrm>
            <a:custGeom>
              <a:avLst/>
              <a:gdLst>
                <a:gd name="connsiteX0" fmla="*/ 58159 w 588511"/>
                <a:gd name="connsiteY0" fmla="*/ 1371600 h 1371600"/>
                <a:gd name="connsiteX1" fmla="*/ 49015 w 588511"/>
                <a:gd name="connsiteY1" fmla="*/ 594360 h 1371600"/>
                <a:gd name="connsiteX2" fmla="*/ 588511 w 588511"/>
                <a:gd name="connsiteY2" fmla="*/ 0 h 1371600"/>
                <a:gd name="connsiteX0" fmla="*/ 73228 w 603580"/>
                <a:gd name="connsiteY0" fmla="*/ 1371600 h 1371600"/>
                <a:gd name="connsiteX1" fmla="*/ 64084 w 603580"/>
                <a:gd name="connsiteY1" fmla="*/ 594360 h 1371600"/>
                <a:gd name="connsiteX2" fmla="*/ 603580 w 603580"/>
                <a:gd name="connsiteY2" fmla="*/ 0 h 1371600"/>
                <a:gd name="connsiteX0" fmla="*/ 60359 w 590711"/>
                <a:gd name="connsiteY0" fmla="*/ 1371600 h 1371600"/>
                <a:gd name="connsiteX1" fmla="*/ 78647 w 590711"/>
                <a:gd name="connsiteY1" fmla="*/ 576072 h 1371600"/>
                <a:gd name="connsiteX2" fmla="*/ 590711 w 590711"/>
                <a:gd name="connsiteY2" fmla="*/ 0 h 1371600"/>
                <a:gd name="connsiteX0" fmla="*/ 60359 w 746159"/>
                <a:gd name="connsiteY0" fmla="*/ 1472184 h 1472184"/>
                <a:gd name="connsiteX1" fmla="*/ 78647 w 746159"/>
                <a:gd name="connsiteY1" fmla="*/ 676656 h 1472184"/>
                <a:gd name="connsiteX2" fmla="*/ 746159 w 746159"/>
                <a:gd name="connsiteY2" fmla="*/ 0 h 1472184"/>
                <a:gd name="connsiteX0" fmla="*/ 68600 w 736112"/>
                <a:gd name="connsiteY0" fmla="*/ 1618488 h 1618488"/>
                <a:gd name="connsiteX1" fmla="*/ 68600 w 736112"/>
                <a:gd name="connsiteY1" fmla="*/ 676656 h 1618488"/>
                <a:gd name="connsiteX2" fmla="*/ 736112 w 736112"/>
                <a:gd name="connsiteY2" fmla="*/ 0 h 1618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6112" h="1618488">
                  <a:moveTo>
                    <a:pt x="68600" y="1618488"/>
                  </a:moveTo>
                  <a:cubicBezTo>
                    <a:pt x="-25888" y="1143000"/>
                    <a:pt x="-19792" y="905256"/>
                    <a:pt x="68600" y="676656"/>
                  </a:cubicBezTo>
                  <a:cubicBezTo>
                    <a:pt x="156992" y="448056"/>
                    <a:pt x="510560" y="182880"/>
                    <a:pt x="736112" y="0"/>
                  </a:cubicBezTo>
                </a:path>
              </a:pathLst>
            </a:custGeom>
            <a:noFill/>
            <a:ln w="127000">
              <a:headEnd type="triangle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8" name="Forme libre 17">
              <a:extLst>
                <a:ext uri="{FF2B5EF4-FFF2-40B4-BE49-F238E27FC236}">
                  <a16:creationId xmlns:a16="http://schemas.microsoft.com/office/drawing/2014/main" id="{D2C933A5-7A21-4AE4-99B6-0BE992D39E1C}"/>
                </a:ext>
              </a:extLst>
            </p:cNvPr>
            <p:cNvSpPr/>
            <p:nvPr/>
          </p:nvSpPr>
          <p:spPr>
            <a:xfrm>
              <a:off x="7412640" y="1724102"/>
              <a:ext cx="15215" cy="532508"/>
            </a:xfrm>
            <a:custGeom>
              <a:avLst/>
              <a:gdLst>
                <a:gd name="connsiteX0" fmla="*/ 0 w 9144"/>
                <a:gd name="connsiteY0" fmla="*/ 438912 h 438912"/>
                <a:gd name="connsiteX1" fmla="*/ 9144 w 9144"/>
                <a:gd name="connsiteY1" fmla="*/ 0 h 438912"/>
                <a:gd name="connsiteX0" fmla="*/ 0 w 20000"/>
                <a:gd name="connsiteY0" fmla="*/ 14583 h 14583"/>
                <a:gd name="connsiteX1" fmla="*/ 20000 w 20000"/>
                <a:gd name="connsiteY1" fmla="*/ 0 h 14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000" h="14583">
                  <a:moveTo>
                    <a:pt x="0" y="14583"/>
                  </a:moveTo>
                  <a:cubicBezTo>
                    <a:pt x="3333" y="11250"/>
                    <a:pt x="16667" y="3333"/>
                    <a:pt x="20000" y="0"/>
                  </a:cubicBezTo>
                </a:path>
              </a:pathLst>
            </a:custGeom>
            <a:noFill/>
            <a:ln w="127000"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19" name="Groupe 18">
              <a:extLst>
                <a:ext uri="{FF2B5EF4-FFF2-40B4-BE49-F238E27FC236}">
                  <a16:creationId xmlns:a16="http://schemas.microsoft.com/office/drawing/2014/main" id="{CFD595B9-FECB-4714-BDCF-D3989470CBB5}"/>
                </a:ext>
              </a:extLst>
            </p:cNvPr>
            <p:cNvGrpSpPr/>
            <p:nvPr/>
          </p:nvGrpSpPr>
          <p:grpSpPr>
            <a:xfrm>
              <a:off x="6984640" y="2658505"/>
              <a:ext cx="841381" cy="509698"/>
              <a:chOff x="5029200" y="3103491"/>
              <a:chExt cx="1011324" cy="612648"/>
            </a:xfrm>
          </p:grpSpPr>
          <p:sp>
            <p:nvSpPr>
              <p:cNvPr id="25" name="Forme libre 24">
                <a:extLst>
                  <a:ext uri="{FF2B5EF4-FFF2-40B4-BE49-F238E27FC236}">
                    <a16:creationId xmlns:a16="http://schemas.microsoft.com/office/drawing/2014/main" id="{7FBEFDE1-B684-4189-848D-AD84EC84A002}"/>
                  </a:ext>
                </a:extLst>
              </p:cNvPr>
              <p:cNvSpPr/>
              <p:nvPr/>
            </p:nvSpPr>
            <p:spPr>
              <a:xfrm flipH="1">
                <a:off x="5674764" y="3103491"/>
                <a:ext cx="365760" cy="612648"/>
              </a:xfrm>
              <a:custGeom>
                <a:avLst/>
                <a:gdLst>
                  <a:gd name="connsiteX0" fmla="*/ 192024 w 210501"/>
                  <a:gd name="connsiteY0" fmla="*/ 0 h 521208"/>
                  <a:gd name="connsiteX1" fmla="*/ 192024 w 210501"/>
                  <a:gd name="connsiteY1" fmla="*/ 292608 h 521208"/>
                  <a:gd name="connsiteX2" fmla="*/ 0 w 210501"/>
                  <a:gd name="connsiteY2" fmla="*/ 521208 h 521208"/>
                  <a:gd name="connsiteX0" fmla="*/ 2762 w 164518"/>
                  <a:gd name="connsiteY0" fmla="*/ 0 h 658368"/>
                  <a:gd name="connsiteX1" fmla="*/ 2762 w 164518"/>
                  <a:gd name="connsiteY1" fmla="*/ 292608 h 658368"/>
                  <a:gd name="connsiteX2" fmla="*/ 149066 w 164518"/>
                  <a:gd name="connsiteY2" fmla="*/ 658368 h 658368"/>
                  <a:gd name="connsiteX0" fmla="*/ 329184 w 347661"/>
                  <a:gd name="connsiteY0" fmla="*/ 0 h 603504"/>
                  <a:gd name="connsiteX1" fmla="*/ 329184 w 347661"/>
                  <a:gd name="connsiteY1" fmla="*/ 292608 h 603504"/>
                  <a:gd name="connsiteX2" fmla="*/ 0 w 347661"/>
                  <a:gd name="connsiteY2" fmla="*/ 603504 h 603504"/>
                  <a:gd name="connsiteX0" fmla="*/ 329184 w 333652"/>
                  <a:gd name="connsiteY0" fmla="*/ 0 h 603504"/>
                  <a:gd name="connsiteX1" fmla="*/ 283464 w 333652"/>
                  <a:gd name="connsiteY1" fmla="*/ 301752 h 603504"/>
                  <a:gd name="connsiteX2" fmla="*/ 0 w 333652"/>
                  <a:gd name="connsiteY2" fmla="*/ 603504 h 603504"/>
                  <a:gd name="connsiteX0" fmla="*/ 365760 w 368213"/>
                  <a:gd name="connsiteY0" fmla="*/ 0 h 612648"/>
                  <a:gd name="connsiteX1" fmla="*/ 283464 w 368213"/>
                  <a:gd name="connsiteY1" fmla="*/ 310896 h 612648"/>
                  <a:gd name="connsiteX2" fmla="*/ 0 w 368213"/>
                  <a:gd name="connsiteY2" fmla="*/ 612648 h 612648"/>
                  <a:gd name="connsiteX0" fmla="*/ 365760 w 368213"/>
                  <a:gd name="connsiteY0" fmla="*/ 0 h 612648"/>
                  <a:gd name="connsiteX1" fmla="*/ 283464 w 368213"/>
                  <a:gd name="connsiteY1" fmla="*/ 310896 h 612648"/>
                  <a:gd name="connsiteX2" fmla="*/ 0 w 368213"/>
                  <a:gd name="connsiteY2" fmla="*/ 612648 h 612648"/>
                  <a:gd name="connsiteX0" fmla="*/ 365760 w 365760"/>
                  <a:gd name="connsiteY0" fmla="*/ 0 h 612648"/>
                  <a:gd name="connsiteX1" fmla="*/ 283464 w 365760"/>
                  <a:gd name="connsiteY1" fmla="*/ 310896 h 612648"/>
                  <a:gd name="connsiteX2" fmla="*/ 0 w 365760"/>
                  <a:gd name="connsiteY2" fmla="*/ 612648 h 612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5760" h="612648">
                    <a:moveTo>
                      <a:pt x="365760" y="0"/>
                    </a:moveTo>
                    <a:cubicBezTo>
                      <a:pt x="354330" y="240030"/>
                      <a:pt x="315468" y="224028"/>
                      <a:pt x="283464" y="310896"/>
                    </a:cubicBezTo>
                    <a:cubicBezTo>
                      <a:pt x="251460" y="397764"/>
                      <a:pt x="80010" y="541782"/>
                      <a:pt x="0" y="612648"/>
                    </a:cubicBezTo>
                  </a:path>
                </a:pathLst>
              </a:custGeom>
              <a:noFill/>
              <a:ln w="127000">
                <a:headEnd type="none"/>
                <a:tail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26" name="Forme libre 25">
                <a:extLst>
                  <a:ext uri="{FF2B5EF4-FFF2-40B4-BE49-F238E27FC236}">
                    <a16:creationId xmlns:a16="http://schemas.microsoft.com/office/drawing/2014/main" id="{7A0AAA53-189A-413B-AE74-C809D9E5708E}"/>
                  </a:ext>
                </a:extLst>
              </p:cNvPr>
              <p:cNvSpPr/>
              <p:nvPr/>
            </p:nvSpPr>
            <p:spPr>
              <a:xfrm>
                <a:off x="5029200" y="3103491"/>
                <a:ext cx="365760" cy="612648"/>
              </a:xfrm>
              <a:custGeom>
                <a:avLst/>
                <a:gdLst>
                  <a:gd name="connsiteX0" fmla="*/ 192024 w 210501"/>
                  <a:gd name="connsiteY0" fmla="*/ 0 h 521208"/>
                  <a:gd name="connsiteX1" fmla="*/ 192024 w 210501"/>
                  <a:gd name="connsiteY1" fmla="*/ 292608 h 521208"/>
                  <a:gd name="connsiteX2" fmla="*/ 0 w 210501"/>
                  <a:gd name="connsiteY2" fmla="*/ 521208 h 521208"/>
                  <a:gd name="connsiteX0" fmla="*/ 2762 w 164518"/>
                  <a:gd name="connsiteY0" fmla="*/ 0 h 658368"/>
                  <a:gd name="connsiteX1" fmla="*/ 2762 w 164518"/>
                  <a:gd name="connsiteY1" fmla="*/ 292608 h 658368"/>
                  <a:gd name="connsiteX2" fmla="*/ 149066 w 164518"/>
                  <a:gd name="connsiteY2" fmla="*/ 658368 h 658368"/>
                  <a:gd name="connsiteX0" fmla="*/ 329184 w 347661"/>
                  <a:gd name="connsiteY0" fmla="*/ 0 h 603504"/>
                  <a:gd name="connsiteX1" fmla="*/ 329184 w 347661"/>
                  <a:gd name="connsiteY1" fmla="*/ 292608 h 603504"/>
                  <a:gd name="connsiteX2" fmla="*/ 0 w 347661"/>
                  <a:gd name="connsiteY2" fmla="*/ 603504 h 603504"/>
                  <a:gd name="connsiteX0" fmla="*/ 329184 w 333652"/>
                  <a:gd name="connsiteY0" fmla="*/ 0 h 603504"/>
                  <a:gd name="connsiteX1" fmla="*/ 283464 w 333652"/>
                  <a:gd name="connsiteY1" fmla="*/ 301752 h 603504"/>
                  <a:gd name="connsiteX2" fmla="*/ 0 w 333652"/>
                  <a:gd name="connsiteY2" fmla="*/ 603504 h 603504"/>
                  <a:gd name="connsiteX0" fmla="*/ 365760 w 368213"/>
                  <a:gd name="connsiteY0" fmla="*/ 0 h 612648"/>
                  <a:gd name="connsiteX1" fmla="*/ 283464 w 368213"/>
                  <a:gd name="connsiteY1" fmla="*/ 310896 h 612648"/>
                  <a:gd name="connsiteX2" fmla="*/ 0 w 368213"/>
                  <a:gd name="connsiteY2" fmla="*/ 612648 h 612648"/>
                  <a:gd name="connsiteX0" fmla="*/ 365760 w 368213"/>
                  <a:gd name="connsiteY0" fmla="*/ 0 h 612648"/>
                  <a:gd name="connsiteX1" fmla="*/ 283464 w 368213"/>
                  <a:gd name="connsiteY1" fmla="*/ 310896 h 612648"/>
                  <a:gd name="connsiteX2" fmla="*/ 0 w 368213"/>
                  <a:gd name="connsiteY2" fmla="*/ 612648 h 612648"/>
                  <a:gd name="connsiteX0" fmla="*/ 365760 w 365760"/>
                  <a:gd name="connsiteY0" fmla="*/ 0 h 612648"/>
                  <a:gd name="connsiteX1" fmla="*/ 283464 w 365760"/>
                  <a:gd name="connsiteY1" fmla="*/ 310896 h 612648"/>
                  <a:gd name="connsiteX2" fmla="*/ 0 w 365760"/>
                  <a:gd name="connsiteY2" fmla="*/ 612648 h 612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5760" h="612648">
                    <a:moveTo>
                      <a:pt x="365760" y="0"/>
                    </a:moveTo>
                    <a:cubicBezTo>
                      <a:pt x="354330" y="240030"/>
                      <a:pt x="315468" y="224028"/>
                      <a:pt x="283464" y="310896"/>
                    </a:cubicBezTo>
                    <a:cubicBezTo>
                      <a:pt x="251460" y="397764"/>
                      <a:pt x="80010" y="541782"/>
                      <a:pt x="0" y="612648"/>
                    </a:cubicBezTo>
                  </a:path>
                </a:pathLst>
              </a:custGeom>
              <a:noFill/>
              <a:ln w="127000">
                <a:headEnd type="none"/>
                <a:tail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sp>
          <p:nvSpPr>
            <p:cNvPr id="20" name="Rectangle : coins arrondis 17">
              <a:extLst>
                <a:ext uri="{FF2B5EF4-FFF2-40B4-BE49-F238E27FC236}">
                  <a16:creationId xmlns:a16="http://schemas.microsoft.com/office/drawing/2014/main" id="{F923B17B-9AC8-45CE-A81D-E688D8295071}"/>
                </a:ext>
              </a:extLst>
            </p:cNvPr>
            <p:cNvSpPr/>
            <p:nvPr/>
          </p:nvSpPr>
          <p:spPr>
            <a:xfrm>
              <a:off x="6932161" y="1475587"/>
              <a:ext cx="958524" cy="398009"/>
            </a:xfrm>
            <a:prstGeom prst="round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fr-FR" sz="1200" err="1">
                  <a:solidFill>
                    <a:srgbClr val="000000"/>
                  </a:solidFill>
                  <a:latin typeface="Arial"/>
                </a:rPr>
                <a:t>Models</a:t>
              </a:r>
              <a:endParaRPr lang="fr-FR" sz="120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2C42C108-CF41-497F-8321-37EED83C936E}"/>
                </a:ext>
              </a:extLst>
            </p:cNvPr>
            <p:cNvGrpSpPr/>
            <p:nvPr/>
          </p:nvGrpSpPr>
          <p:grpSpPr>
            <a:xfrm>
              <a:off x="5922572" y="2867136"/>
              <a:ext cx="2977702" cy="398009"/>
              <a:chOff x="3707904" y="3379356"/>
              <a:chExt cx="3579141" cy="478399"/>
            </a:xfrm>
          </p:grpSpPr>
          <p:sp>
            <p:nvSpPr>
              <p:cNvPr id="23" name="Rectangle : coins arrondis 20">
                <a:extLst>
                  <a:ext uri="{FF2B5EF4-FFF2-40B4-BE49-F238E27FC236}">
                    <a16:creationId xmlns:a16="http://schemas.microsoft.com/office/drawing/2014/main" id="{A4CE8A5D-ACEF-4407-A13A-031D8E011F17}"/>
                  </a:ext>
                </a:extLst>
              </p:cNvPr>
              <p:cNvSpPr/>
              <p:nvPr/>
            </p:nvSpPr>
            <p:spPr>
              <a:xfrm>
                <a:off x="3707904" y="3379356"/>
                <a:ext cx="1418901" cy="478399"/>
              </a:xfrm>
              <a:prstGeom prst="roundRect">
                <a:avLst/>
              </a:prstGeom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fr-FR" sz="1200">
                    <a:solidFill>
                      <a:srgbClr val="000000"/>
                    </a:solidFill>
                    <a:latin typeface="Arial"/>
                  </a:rPr>
                  <a:t>Simulations</a:t>
                </a:r>
              </a:p>
            </p:txBody>
          </p:sp>
          <p:sp>
            <p:nvSpPr>
              <p:cNvPr id="24" name="Rectangle : coins arrondis 21">
                <a:extLst>
                  <a:ext uri="{FF2B5EF4-FFF2-40B4-BE49-F238E27FC236}">
                    <a16:creationId xmlns:a16="http://schemas.microsoft.com/office/drawing/2014/main" id="{1A9AC029-DE22-4C22-BE82-778B94987352}"/>
                  </a:ext>
                </a:extLst>
              </p:cNvPr>
              <p:cNvSpPr/>
              <p:nvPr/>
            </p:nvSpPr>
            <p:spPr>
              <a:xfrm>
                <a:off x="5868144" y="3379356"/>
                <a:ext cx="1418901" cy="478399"/>
              </a:xfrm>
              <a:prstGeom prst="roundRect">
                <a:avLst/>
              </a:prstGeom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fr-FR" sz="1200">
                    <a:solidFill>
                      <a:srgbClr val="000000"/>
                    </a:solidFill>
                    <a:latin typeface="Arial"/>
                  </a:rPr>
                  <a:t>Data</a:t>
                </a:r>
              </a:p>
            </p:txBody>
          </p:sp>
        </p:grpSp>
        <p:sp>
          <p:nvSpPr>
            <p:cNvPr id="22" name="Hexagone 21">
              <a:extLst>
                <a:ext uri="{FF2B5EF4-FFF2-40B4-BE49-F238E27FC236}">
                  <a16:creationId xmlns:a16="http://schemas.microsoft.com/office/drawing/2014/main" id="{B6BDB45D-AC27-44F7-BF72-DAB43953B43B}"/>
                </a:ext>
              </a:extLst>
            </p:cNvPr>
            <p:cNvSpPr/>
            <p:nvPr/>
          </p:nvSpPr>
          <p:spPr>
            <a:xfrm>
              <a:off x="6882545" y="2242468"/>
              <a:ext cx="1057757" cy="398010"/>
            </a:xfrm>
            <a:prstGeom prst="hexagon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fr-FR" sz="1200">
                  <a:solidFill>
                    <a:srgbClr val="000000"/>
                  </a:solidFill>
                  <a:latin typeface="Arial"/>
                </a:rPr>
                <a:t>AI / ML</a:t>
              </a:r>
              <a:endParaRPr lang="fr-FR" sz="120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pic>
        <p:nvPicPr>
          <p:cNvPr id="4" name="Image 3" descr="Une image contenant texte, Police, capture d’écran, blanc">
            <a:extLst>
              <a:ext uri="{FF2B5EF4-FFF2-40B4-BE49-F238E27FC236}">
                <a16:creationId xmlns:a16="http://schemas.microsoft.com/office/drawing/2014/main" id="{8EC73F1E-E4AC-4CA6-7CC7-F210A21BEE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8898" y="796788"/>
            <a:ext cx="7637522" cy="1856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546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 rot="10800000">
            <a:off x="7821" y="1996480"/>
            <a:ext cx="9144000" cy="31478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-13441"/>
            <a:ext cx="9144000" cy="236996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>
                <a:solidFill>
                  <a:srgbClr val="525668"/>
                </a:solidFill>
                <a:latin typeface="Arial"/>
              </a:rPr>
              <a:t>Safran / C2-Restricted / Comité Programme Safran Tech- Safran AE / 10 février 2021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F6810B3-52E8-4DDD-90C7-BFCE3F6CCD16}" type="slidenum">
              <a:rPr lang="fr-FR">
                <a:solidFill>
                  <a:srgbClr val="525668"/>
                </a:solidFill>
                <a:latin typeface="Arial"/>
              </a:rPr>
              <a:pPr>
                <a:defRPr/>
              </a:pPr>
              <a:t>6</a:t>
            </a:fld>
            <a:endParaRPr lang="fr-FR">
              <a:solidFill>
                <a:srgbClr val="525668"/>
              </a:solidFill>
              <a:latin typeface="Arial"/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0156" y="4787181"/>
            <a:ext cx="1011312" cy="216709"/>
          </a:xfrm>
          <a:prstGeom prst="rect">
            <a:avLst/>
          </a:prstGeom>
        </p:spPr>
      </p:pic>
      <p:sp>
        <p:nvSpPr>
          <p:cNvPr id="15" name="Titre 1">
            <a:extLst>
              <a:ext uri="{FF2B5EF4-FFF2-40B4-BE49-F238E27FC236}">
                <a16:creationId xmlns:a16="http://schemas.microsoft.com/office/drawing/2014/main" id="{EB18C89A-0912-344F-83C2-D8FA0D9533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413" y="336946"/>
            <a:ext cx="8389938" cy="360386"/>
          </a:xfrm>
        </p:spPr>
        <p:txBody>
          <a:bodyPr/>
          <a:lstStyle/>
          <a:p>
            <a:r>
              <a:rPr lang="fr-FR" cap="none">
                <a:solidFill>
                  <a:schemeClr val="bg1"/>
                </a:solidFill>
              </a:rPr>
              <a:t>DST (Digital Science &amp; Technologies)</a:t>
            </a:r>
            <a:endParaRPr lang="en-US" cap="none">
              <a:solidFill>
                <a:schemeClr val="bg1"/>
              </a:solidFill>
              <a:cs typeface="Arial"/>
            </a:endParaRPr>
          </a:p>
        </p:txBody>
      </p:sp>
      <p:graphicFrame>
        <p:nvGraphicFramePr>
          <p:cNvPr id="17" name="Diagramme 16"/>
          <p:cNvGraphicFramePr/>
          <p:nvPr/>
        </p:nvGraphicFramePr>
        <p:xfrm>
          <a:off x="107505" y="951957"/>
          <a:ext cx="8928992" cy="36525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pSp>
        <p:nvGrpSpPr>
          <p:cNvPr id="19" name="Groupe 18">
            <a:extLst>
              <a:ext uri="{FF2B5EF4-FFF2-40B4-BE49-F238E27FC236}">
                <a16:creationId xmlns:a16="http://schemas.microsoft.com/office/drawing/2014/main" id="{8485D2E3-6019-964E-A4EA-6B7CEBE03935}"/>
              </a:ext>
            </a:extLst>
          </p:cNvPr>
          <p:cNvGrpSpPr>
            <a:grpSpLocks noChangeAspect="1"/>
          </p:cNvGrpSpPr>
          <p:nvPr/>
        </p:nvGrpSpPr>
        <p:grpSpPr>
          <a:xfrm>
            <a:off x="176189" y="196280"/>
            <a:ext cx="375209" cy="376384"/>
            <a:chOff x="252000" y="252000"/>
            <a:chExt cx="344520" cy="345600"/>
          </a:xfrm>
          <a:solidFill>
            <a:schemeClr val="bg1"/>
          </a:solidFill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C592155-77D7-9A43-B61A-A72CC036E16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52004" y="252000"/>
              <a:ext cx="53408" cy="3456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DF4D4B1-80EF-624E-83B3-609110E6EEF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52000" y="252000"/>
              <a:ext cx="344520" cy="532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>
                <a:solidFill>
                  <a:prstClr val="white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479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contenu 14"/>
          <p:cNvSpPr>
            <a:spLocks noGrp="1"/>
          </p:cNvSpPr>
          <p:nvPr>
            <p:ph idx="1"/>
          </p:nvPr>
        </p:nvSpPr>
        <p:spPr>
          <a:xfrm>
            <a:off x="578962" y="1322307"/>
            <a:ext cx="4065047" cy="1396737"/>
          </a:xfrm>
        </p:spPr>
        <p:txBody>
          <a:bodyPr/>
          <a:lstStyle/>
          <a:p>
            <a:r>
              <a:rPr lang="fr-FR" sz="1000" dirty="0" err="1"/>
              <a:t>Why</a:t>
            </a:r>
            <a:r>
              <a:rPr lang="fr-FR" sz="1000" dirty="0"/>
              <a:t> DOES IT </a:t>
            </a:r>
            <a:r>
              <a:rPr lang="fr-FR" sz="1000" dirty="0" err="1"/>
              <a:t>Matter</a:t>
            </a:r>
            <a:r>
              <a:rPr lang="fr-FR" sz="1000" dirty="0"/>
              <a:t> to </a:t>
            </a:r>
            <a:r>
              <a:rPr lang="fr-FR" sz="1000" dirty="0" err="1"/>
              <a:t>SAfran</a:t>
            </a:r>
            <a:r>
              <a:rPr lang="fr-FR" sz="1000" dirty="0"/>
              <a:t>?</a:t>
            </a:r>
          </a:p>
          <a:p>
            <a:pPr marL="213995" lvl="1" indent="-213995">
              <a:buFont typeface="Wingdings" pitchFamily="2" charset="2"/>
              <a:buChar char="§"/>
            </a:pPr>
            <a:r>
              <a:rPr lang="en-US" sz="1000" dirty="0"/>
              <a:t>Our business model evolved towards a service model (hours renting) and maintenance cost optimization became strategic</a:t>
            </a:r>
            <a:endParaRPr lang="en-US" sz="1000" dirty="0">
              <a:cs typeface="Arial"/>
            </a:endParaRPr>
          </a:p>
          <a:p>
            <a:pPr marL="213995" lvl="1" indent="-213995">
              <a:buFont typeface="Wingdings" pitchFamily="2" charset="2"/>
              <a:buChar char="§"/>
            </a:pPr>
            <a:r>
              <a:rPr lang="en-US" sz="1000" dirty="0"/>
              <a:t>Better understanding how our products evolve in time is key to build differentiators</a:t>
            </a:r>
            <a:endParaRPr lang="en-US" sz="1000" dirty="0">
              <a:cs typeface="Arial"/>
            </a:endParaRPr>
          </a:p>
          <a:p>
            <a:pPr marL="213995" lvl="1" indent="-213995">
              <a:buFont typeface="Wingdings" pitchFamily="2" charset="2"/>
              <a:buChar char="§"/>
            </a:pPr>
            <a:r>
              <a:rPr lang="fr-FR" sz="1000" dirty="0"/>
              <a:t>Our long </a:t>
            </a:r>
            <a:r>
              <a:rPr lang="fr-FR" sz="1000" dirty="0" err="1"/>
              <a:t>term</a:t>
            </a:r>
            <a:r>
              <a:rPr lang="fr-FR" sz="1000" dirty="0"/>
              <a:t> </a:t>
            </a:r>
            <a:r>
              <a:rPr lang="fr-FR" sz="1000" dirty="0" smtClean="0"/>
              <a:t>future </a:t>
            </a:r>
            <a:r>
              <a:rPr lang="fr-FR" sz="1000" dirty="0" err="1"/>
              <a:t>depends</a:t>
            </a:r>
            <a:r>
              <a:rPr lang="fr-FR" sz="1000" dirty="0"/>
              <a:t> on </a:t>
            </a:r>
            <a:r>
              <a:rPr lang="fr-FR" sz="1000" dirty="0" err="1"/>
              <a:t>our</a:t>
            </a:r>
            <a:r>
              <a:rPr lang="fr-FR" sz="1000" dirty="0"/>
              <a:t> </a:t>
            </a:r>
            <a:r>
              <a:rPr lang="fr-FR" sz="1000" dirty="0" err="1"/>
              <a:t>capacity</a:t>
            </a:r>
            <a:r>
              <a:rPr lang="fr-FR" sz="1000" dirty="0"/>
              <a:t> to design </a:t>
            </a:r>
            <a:r>
              <a:rPr lang="fr-FR" sz="1000" dirty="0" err="1"/>
              <a:t>products</a:t>
            </a:r>
            <a:r>
              <a:rPr lang="fr-FR" sz="1000" dirty="0"/>
              <a:t> </a:t>
            </a:r>
            <a:r>
              <a:rPr lang="fr-FR" sz="1000" dirty="0" err="1"/>
              <a:t>optimized</a:t>
            </a:r>
            <a:r>
              <a:rPr lang="fr-FR" sz="1000" dirty="0"/>
              <a:t> for </a:t>
            </a:r>
            <a:r>
              <a:rPr lang="fr-FR" sz="1000" dirty="0" err="1"/>
              <a:t>its</a:t>
            </a:r>
            <a:r>
              <a:rPr lang="fr-FR" sz="1000" dirty="0"/>
              <a:t> effective usage </a:t>
            </a:r>
            <a:endParaRPr lang="fr-FR" sz="1000" dirty="0">
              <a:cs typeface="Arial"/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MATD : MATHEMATICS &amp; ALGORITHMS ON TEMPORAL DATA</a:t>
            </a:r>
            <a:endParaRPr lang="en-US"/>
          </a:p>
        </p:txBody>
      </p:sp>
      <p:sp>
        <p:nvSpPr>
          <p:cNvPr id="16" name="Espace réservé du contenu 15"/>
          <p:cNvSpPr>
            <a:spLocks noGrp="1"/>
          </p:cNvSpPr>
          <p:nvPr>
            <p:ph idx="13"/>
          </p:nvPr>
        </p:nvSpPr>
        <p:spPr>
          <a:xfrm>
            <a:off x="4860033" y="1322307"/>
            <a:ext cx="4065047" cy="1478891"/>
          </a:xfrm>
        </p:spPr>
        <p:txBody>
          <a:bodyPr/>
          <a:lstStyle/>
          <a:p>
            <a:r>
              <a:rPr lang="fr-FR" sz="1000"/>
              <a:t>Applications</a:t>
            </a:r>
          </a:p>
          <a:p>
            <a:pPr marL="213995" lvl="1" indent="-213995">
              <a:buFont typeface="Wingdings" pitchFamily="2" charset="2"/>
              <a:buChar char="§"/>
            </a:pPr>
            <a:r>
              <a:rPr lang="fr-FR" sz="1000" err="1"/>
              <a:t>Continuous</a:t>
            </a:r>
            <a:r>
              <a:rPr lang="fr-FR" sz="1000"/>
              <a:t> flight data and vibration data </a:t>
            </a:r>
            <a:r>
              <a:rPr lang="fr-FR" sz="1000" err="1"/>
              <a:t>based</a:t>
            </a:r>
            <a:r>
              <a:rPr lang="fr-FR" sz="1000"/>
              <a:t> </a:t>
            </a:r>
            <a:r>
              <a:rPr lang="fr-FR" sz="1000" err="1"/>
              <a:t>advanced</a:t>
            </a:r>
            <a:r>
              <a:rPr lang="fr-FR" sz="1000"/>
              <a:t> </a:t>
            </a:r>
            <a:r>
              <a:rPr lang="fr-FR" sz="1000" b="1" err="1"/>
              <a:t>Health</a:t>
            </a:r>
            <a:r>
              <a:rPr lang="fr-FR" sz="1000" b="1"/>
              <a:t> Monitoring </a:t>
            </a:r>
            <a:r>
              <a:rPr lang="fr-FR" sz="1000" err="1"/>
              <a:t>indicators</a:t>
            </a:r>
            <a:r>
              <a:rPr lang="fr-FR" sz="1000"/>
              <a:t> construction.</a:t>
            </a:r>
            <a:endParaRPr lang="fr-FR" sz="1000">
              <a:cs typeface="Arial"/>
            </a:endParaRPr>
          </a:p>
          <a:p>
            <a:pPr marL="213995" lvl="1" indent="-213995">
              <a:buFont typeface="Wingdings" pitchFamily="2" charset="2"/>
              <a:buChar char="§"/>
            </a:pPr>
            <a:r>
              <a:rPr lang="fr-FR" sz="1000" err="1"/>
              <a:t>Enriched</a:t>
            </a:r>
            <a:r>
              <a:rPr lang="fr-FR" sz="1000"/>
              <a:t> </a:t>
            </a:r>
            <a:r>
              <a:rPr lang="fr-FR" sz="1000" err="1"/>
              <a:t>features</a:t>
            </a:r>
            <a:r>
              <a:rPr lang="fr-FR" sz="1000"/>
              <a:t> </a:t>
            </a:r>
            <a:r>
              <a:rPr lang="fr-FR" sz="1000" err="1"/>
              <a:t>based</a:t>
            </a:r>
            <a:r>
              <a:rPr lang="fr-FR" sz="1000"/>
              <a:t> </a:t>
            </a:r>
            <a:r>
              <a:rPr lang="fr-FR" sz="1000" b="1"/>
              <a:t>ART</a:t>
            </a:r>
            <a:r>
              <a:rPr lang="fr-FR" sz="1000"/>
              <a:t> </a:t>
            </a:r>
            <a:r>
              <a:rPr lang="fr-FR" sz="1000" err="1"/>
              <a:t>analysis</a:t>
            </a:r>
            <a:r>
              <a:rPr lang="fr-FR" sz="1000"/>
              <a:t> (</a:t>
            </a:r>
            <a:r>
              <a:rPr lang="fr-FR" sz="1000" err="1"/>
              <a:t>Anomaly</a:t>
            </a:r>
            <a:r>
              <a:rPr lang="fr-FR" sz="1000"/>
              <a:t>, Rupture, Trend).</a:t>
            </a:r>
            <a:endParaRPr lang="fr-FR" sz="1000">
              <a:cs typeface="Arial"/>
            </a:endParaRPr>
          </a:p>
          <a:p>
            <a:pPr marL="213995" lvl="1" indent="-213995">
              <a:buFont typeface="Wingdings" pitchFamily="2" charset="2"/>
              <a:buChar char="§"/>
            </a:pPr>
            <a:r>
              <a:rPr lang="fr-FR" sz="1000" b="1" err="1"/>
              <a:t>Physics-Informed</a:t>
            </a:r>
            <a:r>
              <a:rPr lang="fr-FR" sz="1000" b="1"/>
              <a:t> Machine Learning </a:t>
            </a:r>
            <a:r>
              <a:rPr lang="fr-FR" sz="1000"/>
              <a:t>model : engineering </a:t>
            </a:r>
            <a:r>
              <a:rPr lang="fr-FR" sz="1000" err="1"/>
              <a:t>knowledge</a:t>
            </a:r>
            <a:r>
              <a:rPr lang="fr-FR" sz="1000"/>
              <a:t> compliant </a:t>
            </a:r>
            <a:r>
              <a:rPr lang="fr-FR" sz="1000" err="1"/>
              <a:t>human</a:t>
            </a:r>
            <a:r>
              <a:rPr lang="fr-FR" sz="1000"/>
              <a:t> </a:t>
            </a:r>
            <a:r>
              <a:rPr lang="fr-FR" sz="1000" err="1"/>
              <a:t>interpretable</a:t>
            </a:r>
            <a:r>
              <a:rPr lang="fr-FR" sz="1000"/>
              <a:t> </a:t>
            </a:r>
            <a:r>
              <a:rPr lang="fr-FR" sz="1000" err="1"/>
              <a:t>product</a:t>
            </a:r>
            <a:r>
              <a:rPr lang="fr-FR" sz="1000"/>
              <a:t> signatures.</a:t>
            </a:r>
            <a:endParaRPr lang="fr-FR" sz="1000">
              <a:cs typeface="Arial"/>
            </a:endParaRPr>
          </a:p>
          <a:p>
            <a:pPr marL="213995" lvl="1" indent="-213995">
              <a:buFont typeface="Wingdings" pitchFamily="2" charset="2"/>
              <a:buChar char="§"/>
            </a:pPr>
            <a:r>
              <a:rPr lang="fr-FR" sz="1000" err="1"/>
              <a:t>Improved</a:t>
            </a:r>
            <a:r>
              <a:rPr lang="fr-FR" sz="1000"/>
              <a:t> </a:t>
            </a:r>
            <a:r>
              <a:rPr lang="fr-FR" sz="1000" err="1"/>
              <a:t>remaining</a:t>
            </a:r>
            <a:r>
              <a:rPr lang="fr-FR" sz="1000"/>
              <a:t> (</a:t>
            </a:r>
            <a:r>
              <a:rPr lang="fr-FR" sz="1000" err="1"/>
              <a:t>product</a:t>
            </a:r>
            <a:r>
              <a:rPr lang="fr-FR" sz="1000"/>
              <a:t>) </a:t>
            </a:r>
            <a:r>
              <a:rPr lang="fr-FR" sz="1000" b="1"/>
              <a:t>life time </a:t>
            </a:r>
            <a:r>
              <a:rPr lang="fr-FR" sz="1000" b="1" err="1"/>
              <a:t>prediction</a:t>
            </a:r>
            <a:r>
              <a:rPr lang="fr-FR" sz="1000" b="1"/>
              <a:t>.</a:t>
            </a:r>
            <a:endParaRPr lang="fr-FR" sz="1000" b="1">
              <a:cs typeface="Arial"/>
            </a:endParaRPr>
          </a:p>
        </p:txBody>
      </p:sp>
      <p:sp>
        <p:nvSpPr>
          <p:cNvPr id="17" name="Espace réservé du contenu 16"/>
          <p:cNvSpPr>
            <a:spLocks noGrp="1"/>
          </p:cNvSpPr>
          <p:nvPr>
            <p:ph idx="14"/>
          </p:nvPr>
        </p:nvSpPr>
        <p:spPr>
          <a:xfrm>
            <a:off x="578962" y="2996554"/>
            <a:ext cx="4111033" cy="1675119"/>
          </a:xfrm>
        </p:spPr>
        <p:txBody>
          <a:bodyPr/>
          <a:lstStyle/>
          <a:p>
            <a:r>
              <a:rPr lang="fr-FR" sz="1000"/>
              <a:t>COMPETENCIES</a:t>
            </a:r>
          </a:p>
          <a:p>
            <a:pPr marL="214313" lvl="1" indent="-214313">
              <a:buFont typeface="Wingdings" pitchFamily="2" charset="2"/>
              <a:buChar char="§"/>
            </a:pPr>
            <a:r>
              <a:rPr lang="fr-FR" sz="1000"/>
              <a:t>Expertise in </a:t>
            </a:r>
            <a:r>
              <a:rPr lang="fr-FR" sz="1000" b="1"/>
              <a:t>data </a:t>
            </a:r>
            <a:r>
              <a:rPr lang="fr-FR" sz="1000" b="1" err="1"/>
              <a:t>analysis</a:t>
            </a:r>
            <a:r>
              <a:rPr lang="fr-FR" sz="1000" b="1"/>
              <a:t> </a:t>
            </a:r>
            <a:r>
              <a:rPr lang="fr-FR" sz="1000"/>
              <a:t>(</a:t>
            </a:r>
            <a:r>
              <a:rPr lang="fr-FR" sz="1000" err="1"/>
              <a:t>evaluate</a:t>
            </a:r>
            <a:r>
              <a:rPr lang="fr-FR" sz="1000"/>
              <a:t> </a:t>
            </a:r>
            <a:r>
              <a:rPr lang="fr-FR" sz="1000" err="1"/>
              <a:t>its</a:t>
            </a:r>
            <a:r>
              <a:rPr lang="fr-FR" sz="1000"/>
              <a:t> potentiel)</a:t>
            </a:r>
          </a:p>
          <a:p>
            <a:pPr marL="214313" lvl="1" indent="-214313">
              <a:buFont typeface="Wingdings" pitchFamily="2" charset="2"/>
              <a:buChar char="§"/>
            </a:pPr>
            <a:r>
              <a:rPr lang="fr-FR" sz="1000"/>
              <a:t>Expertise in </a:t>
            </a:r>
            <a:r>
              <a:rPr lang="fr-FR" sz="1000" b="1"/>
              <a:t>machine </a:t>
            </a:r>
            <a:r>
              <a:rPr lang="fr-FR" sz="1000" b="1" err="1"/>
              <a:t>learning</a:t>
            </a:r>
            <a:r>
              <a:rPr lang="fr-FR" sz="1000" b="1"/>
              <a:t> </a:t>
            </a:r>
            <a:r>
              <a:rPr lang="fr-FR" sz="1000"/>
              <a:t>(</a:t>
            </a:r>
            <a:r>
              <a:rPr lang="fr-FR" sz="1000" err="1"/>
              <a:t>optimize</a:t>
            </a:r>
            <a:r>
              <a:rPr lang="fr-FR" sz="1000"/>
              <a:t> </a:t>
            </a:r>
            <a:r>
              <a:rPr lang="fr-FR" sz="1000" err="1"/>
              <a:t>its</a:t>
            </a:r>
            <a:r>
              <a:rPr lang="fr-FR" sz="1000"/>
              <a:t> </a:t>
            </a:r>
            <a:r>
              <a:rPr lang="fr-FR" sz="1000" err="1"/>
              <a:t>potential</a:t>
            </a:r>
            <a:r>
              <a:rPr lang="fr-FR" sz="1000"/>
              <a:t> and </a:t>
            </a:r>
            <a:r>
              <a:rPr lang="fr-FR" sz="1000" err="1"/>
              <a:t>build</a:t>
            </a:r>
            <a:r>
              <a:rPr lang="fr-FR" sz="1000"/>
              <a:t> a data </a:t>
            </a:r>
            <a:r>
              <a:rPr lang="fr-FR" sz="1000" err="1"/>
              <a:t>driven</a:t>
            </a:r>
            <a:r>
              <a:rPr lang="fr-FR" sz="1000"/>
              <a:t> model)</a:t>
            </a:r>
          </a:p>
          <a:p>
            <a:pPr marL="214313" lvl="1" indent="-214313">
              <a:buFont typeface="Wingdings" pitchFamily="2" charset="2"/>
              <a:buChar char="§"/>
            </a:pPr>
            <a:r>
              <a:rPr lang="fr-FR" sz="1000" err="1"/>
              <a:t>Operational</a:t>
            </a:r>
            <a:r>
              <a:rPr lang="fr-FR" sz="1000"/>
              <a:t>/design </a:t>
            </a:r>
            <a:r>
              <a:rPr lang="fr-FR" sz="1000" b="1" err="1"/>
              <a:t>knowledge</a:t>
            </a:r>
            <a:r>
              <a:rPr lang="fr-FR" sz="1000" b="1"/>
              <a:t> </a:t>
            </a:r>
            <a:r>
              <a:rPr lang="fr-FR" sz="1000" b="1" err="1"/>
              <a:t>integration</a:t>
            </a:r>
            <a:r>
              <a:rPr lang="fr-FR" sz="1000" b="1"/>
              <a:t> </a:t>
            </a:r>
            <a:r>
              <a:rPr lang="fr-FR" sz="1000"/>
              <a:t>to </a:t>
            </a:r>
            <a:r>
              <a:rPr lang="fr-FR" sz="1000" err="1"/>
              <a:t>build</a:t>
            </a:r>
            <a:r>
              <a:rPr lang="fr-FR" sz="1000"/>
              <a:t> a new </a:t>
            </a:r>
            <a:r>
              <a:rPr lang="fr-FR" sz="1000" err="1"/>
              <a:t>hybrid</a:t>
            </a:r>
            <a:r>
              <a:rPr lang="fr-FR" sz="1000"/>
              <a:t> model (</a:t>
            </a:r>
            <a:r>
              <a:rPr lang="fr-FR" sz="1000" err="1"/>
              <a:t>algorithm</a:t>
            </a:r>
            <a:r>
              <a:rPr lang="fr-FR" sz="1000"/>
              <a:t> design)</a:t>
            </a:r>
          </a:p>
          <a:p>
            <a:pPr marL="214313" lvl="1" indent="-214313">
              <a:buFont typeface="Wingdings" pitchFamily="2" charset="2"/>
              <a:buChar char="§"/>
            </a:pPr>
            <a:r>
              <a:rPr lang="fr-FR" sz="1000"/>
              <a:t>Relevant </a:t>
            </a:r>
            <a:r>
              <a:rPr lang="fr-FR" sz="1000" err="1"/>
              <a:t>problem</a:t>
            </a:r>
            <a:r>
              <a:rPr lang="fr-FR" sz="1000"/>
              <a:t> formulation </a:t>
            </a:r>
            <a:r>
              <a:rPr lang="fr-FR" sz="1000" err="1"/>
              <a:t>with</a:t>
            </a:r>
            <a:r>
              <a:rPr lang="fr-FR" sz="1000"/>
              <a:t> constructive </a:t>
            </a:r>
            <a:r>
              <a:rPr lang="fr-FR" sz="1000" err="1"/>
              <a:t>methodology</a:t>
            </a:r>
            <a:endParaRPr lang="fr-FR" sz="1000"/>
          </a:p>
          <a:p>
            <a:pPr marL="214313" lvl="1" indent="-214313">
              <a:buFont typeface="Wingdings" pitchFamily="2" charset="2"/>
              <a:buChar char="§"/>
            </a:pPr>
            <a:r>
              <a:rPr lang="fr-FR" sz="1000"/>
              <a:t>Machine </a:t>
            </a:r>
            <a:r>
              <a:rPr lang="fr-FR" sz="1000" err="1"/>
              <a:t>learning</a:t>
            </a:r>
            <a:r>
              <a:rPr lang="fr-FR" sz="1000"/>
              <a:t> </a:t>
            </a:r>
            <a:r>
              <a:rPr lang="fr-FR" sz="1000" err="1"/>
              <a:t>combined</a:t>
            </a:r>
            <a:r>
              <a:rPr lang="fr-FR" sz="1000"/>
              <a:t> signal </a:t>
            </a:r>
            <a:r>
              <a:rPr lang="fr-FR" sz="1000" err="1"/>
              <a:t>processing</a:t>
            </a:r>
            <a:endParaRPr lang="fr-FR" sz="1000"/>
          </a:p>
          <a:p>
            <a:pPr marL="214313" lvl="1" indent="-214313">
              <a:buFont typeface="Wingdings" pitchFamily="2" charset="2"/>
              <a:buChar char="§"/>
            </a:pPr>
            <a:r>
              <a:rPr lang="fr-FR" sz="1000" err="1"/>
              <a:t>Modelling</a:t>
            </a:r>
            <a:r>
              <a:rPr lang="fr-FR" sz="1000"/>
              <a:t> &amp; maintenance </a:t>
            </a:r>
            <a:r>
              <a:rPr lang="fr-FR" sz="1000" err="1"/>
              <a:t>strategy</a:t>
            </a:r>
            <a:r>
              <a:rPr lang="fr-FR" sz="1000"/>
              <a:t> simulati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8">
              <a:defRPr/>
            </a:pPr>
            <a:fld id="{733122C9-A0B9-462F-8757-0847AD287B63}" type="slidenum">
              <a:rPr lang="en-US">
                <a:solidFill>
                  <a:srgbClr val="525668"/>
                </a:solidFill>
                <a:latin typeface="Arial"/>
              </a:rPr>
              <a:pPr defTabSz="914378">
                <a:defRPr/>
              </a:pPr>
              <a:t>7</a:t>
            </a:fld>
            <a:endParaRPr lang="en-US">
              <a:solidFill>
                <a:srgbClr val="525668"/>
              </a:solidFill>
              <a:latin typeface="Arial"/>
            </a:endParaRPr>
          </a:p>
        </p:txBody>
      </p: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215E9C48-4B34-F844-94DA-E4E4C66A7C9B}"/>
              </a:ext>
            </a:extLst>
          </p:cNvPr>
          <p:cNvGrpSpPr>
            <a:grpSpLocks noChangeAspect="1"/>
          </p:cNvGrpSpPr>
          <p:nvPr/>
        </p:nvGrpSpPr>
        <p:grpSpPr>
          <a:xfrm>
            <a:off x="437614" y="2882278"/>
            <a:ext cx="251213" cy="252000"/>
            <a:chOff x="252000" y="252000"/>
            <a:chExt cx="344520" cy="345600"/>
          </a:xfrm>
          <a:solidFill>
            <a:schemeClr val="accent6"/>
          </a:solidFill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C970D108-7977-974D-8F9F-81EA0EAB816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52004" y="252000"/>
              <a:ext cx="53408" cy="3456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>
                <a:defRPr/>
              </a:pPr>
              <a:endParaRPr lang="fr-FR" sz="21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16562F28-FAD4-2B42-A846-0AADAEA8744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52000" y="252000"/>
              <a:ext cx="344520" cy="532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>
                <a:defRPr/>
              </a:pPr>
              <a:endParaRPr lang="fr-FR" sz="2100">
                <a:solidFill>
                  <a:prstClr val="white"/>
                </a:solidFill>
                <a:latin typeface="Arial"/>
              </a:endParaRPr>
            </a:p>
          </p:txBody>
        </p:sp>
      </p:grp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215E9C48-4B34-F844-94DA-E4E4C66A7C9B}"/>
              </a:ext>
            </a:extLst>
          </p:cNvPr>
          <p:cNvGrpSpPr>
            <a:grpSpLocks noChangeAspect="1"/>
          </p:cNvGrpSpPr>
          <p:nvPr/>
        </p:nvGrpSpPr>
        <p:grpSpPr>
          <a:xfrm>
            <a:off x="4734427" y="1221128"/>
            <a:ext cx="251213" cy="252000"/>
            <a:chOff x="252000" y="252000"/>
            <a:chExt cx="344520" cy="345600"/>
          </a:xfrm>
          <a:solidFill>
            <a:schemeClr val="bg2"/>
          </a:solidFill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970D108-7977-974D-8F9F-81EA0EAB816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52004" y="252000"/>
              <a:ext cx="53408" cy="3456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>
                <a:defRPr/>
              </a:pPr>
              <a:endParaRPr lang="fr-FR" sz="21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6562F28-FAD4-2B42-A846-0AADAEA8744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52000" y="252000"/>
              <a:ext cx="344520" cy="532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>
                <a:defRPr/>
              </a:pPr>
              <a:endParaRPr lang="fr-FR" sz="2100">
                <a:solidFill>
                  <a:prstClr val="white"/>
                </a:solidFill>
                <a:latin typeface="Arial"/>
              </a:endParaRPr>
            </a:p>
          </p:txBody>
        </p:sp>
      </p:grpSp>
      <p:grpSp>
        <p:nvGrpSpPr>
          <p:cNvPr id="37" name="Groupe 36">
            <a:extLst>
              <a:ext uri="{FF2B5EF4-FFF2-40B4-BE49-F238E27FC236}">
                <a16:creationId xmlns:a16="http://schemas.microsoft.com/office/drawing/2014/main" id="{8485D2E3-6019-964E-A4EA-6B7CEBE03935}"/>
              </a:ext>
            </a:extLst>
          </p:cNvPr>
          <p:cNvGrpSpPr>
            <a:grpSpLocks noChangeAspect="1"/>
          </p:cNvGrpSpPr>
          <p:nvPr/>
        </p:nvGrpSpPr>
        <p:grpSpPr>
          <a:xfrm>
            <a:off x="436991" y="1208031"/>
            <a:ext cx="251213" cy="252000"/>
            <a:chOff x="252000" y="252000"/>
            <a:chExt cx="344520" cy="345600"/>
          </a:xfrm>
          <a:solidFill>
            <a:schemeClr val="accent3"/>
          </a:solidFill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6C592155-77D7-9A43-B61A-A72CC036E16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52004" y="252000"/>
              <a:ext cx="53408" cy="3456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DF4D4B1-80EF-624E-83B3-609110E6EEF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52000" y="252000"/>
              <a:ext cx="344520" cy="532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7" name="ZoneTexte 6">
            <a:extLst>
              <a:ext uri="{FF2B5EF4-FFF2-40B4-BE49-F238E27FC236}">
                <a16:creationId xmlns:a16="http://schemas.microsoft.com/office/drawing/2014/main" id="{40D43F38-23A6-404C-AE63-EE1A705F526A}"/>
              </a:ext>
            </a:extLst>
          </p:cNvPr>
          <p:cNvSpPr txBox="1"/>
          <p:nvPr/>
        </p:nvSpPr>
        <p:spPr>
          <a:xfrm>
            <a:off x="250826" y="774597"/>
            <a:ext cx="8400169" cy="3000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685800"/>
            <a:r>
              <a:rPr lang="en-US" sz="1350">
                <a:solidFill>
                  <a:srgbClr val="000000"/>
                </a:solidFill>
                <a:latin typeface="Arial"/>
              </a:rPr>
              <a:t>Combining our knowledge as product designers with the operation data to create value</a:t>
            </a:r>
            <a:endParaRPr lang="fr-FR" sz="135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5677" y="2640600"/>
            <a:ext cx="3756083" cy="2095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060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Espace réservé pour une image  25">
            <a:extLst>
              <a:ext uri="{FF2B5EF4-FFF2-40B4-BE49-F238E27FC236}">
                <a16:creationId xmlns:a16="http://schemas.microsoft.com/office/drawing/2014/main" id="{61F22812-CA07-2295-E2E3-3C43623D6A9F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2"/>
          <a:srcRect/>
          <a:stretch/>
        </p:blipFill>
        <p:spPr>
          <a:xfrm>
            <a:off x="971" y="0"/>
            <a:ext cx="3649201" cy="5145088"/>
          </a:xfrm>
        </p:spPr>
      </p:pic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7954B7BA-2236-27D2-8293-6903062AFB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/>
              <a:t>Project Context &amp; Objectives</a:t>
            </a:r>
            <a:endParaRPr lang="fr-FR"/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D8ADB256-2181-16C6-6EF8-693B28AD02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err="1"/>
              <a:t>Chapter</a:t>
            </a:r>
            <a:r>
              <a:rPr lang="fr-FR"/>
              <a:t> 3</a:t>
            </a:r>
          </a:p>
        </p:txBody>
      </p:sp>
    </p:spTree>
    <p:extLst>
      <p:ext uri="{BB962C8B-B14F-4D97-AF65-F5344CB8AC3E}">
        <p14:creationId xmlns:p14="http://schemas.microsoft.com/office/powerpoint/2010/main" val="109896723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ntext</a:t>
            </a:r>
            <a:r>
              <a:rPr lang="fr-FR"/>
              <a:t> 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/>
              <a:t>Department / Company / Date (menu "Insert / Header and footer" – “Insertion / En-tête et pied de page”)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1"/>
          </p:nvPr>
        </p:nvSpPr>
        <p:spPr>
          <a:xfrm>
            <a:off x="287338" y="912134"/>
            <a:ext cx="8569325" cy="2913081"/>
          </a:xfrm>
        </p:spPr>
        <p:txBody>
          <a:bodyPr lIns="91440" tIns="45720" rIns="91440" bIns="4572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Large amount of textual data, such as maintenances reports, tests reports, events reports, etc.</a:t>
            </a:r>
          </a:p>
          <a:p>
            <a:pPr marL="633095" lvl="1" indent="-285750"/>
            <a:r>
              <a:rPr lang="en-GB" sz="115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Need to use NLP models to automatically process all the available textual data </a:t>
            </a:r>
            <a:endParaRPr lang="en-GB" sz="115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>
                <a:solidFill>
                  <a:schemeClr val="tx1">
                    <a:lumMod val="75000"/>
                    <a:lumOff val="25000"/>
                  </a:schemeClr>
                </a:solidFill>
                <a:cs typeface="Segoe UI"/>
              </a:rPr>
              <a:t>Safran datasets are confidential.</a:t>
            </a:r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Access to the public ASRS (Aviation Safety Reporting System) database from NASA.</a:t>
            </a:r>
            <a:r>
              <a:rPr lang="en-GB">
                <a:solidFill>
                  <a:schemeClr val="tx1">
                    <a:lumMod val="75000"/>
                    <a:lumOff val="25000"/>
                  </a:schemeClr>
                </a:solidFill>
                <a:cs typeface="Segoe UI"/>
              </a:rPr>
              <a:t> There are some differences between ASRS and Safran datasets which are:</a:t>
            </a:r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795655" lvl="2" indent="-285750"/>
            <a:r>
              <a:rPr lang="en-GB" sz="1150">
                <a:solidFill>
                  <a:schemeClr val="tx1">
                    <a:lumMod val="75000"/>
                    <a:lumOff val="25000"/>
                  </a:schemeClr>
                </a:solidFill>
                <a:cs typeface="Segoe UI"/>
              </a:rPr>
              <a:t>Textual data are more unstructured and bad written in Safran data</a:t>
            </a:r>
            <a:endParaRPr lang="en-US" sz="1150">
              <a:solidFill>
                <a:schemeClr val="tx1">
                  <a:lumMod val="75000"/>
                  <a:lumOff val="25000"/>
                </a:schemeClr>
              </a:solidFill>
              <a:cs typeface="Segoe UI"/>
            </a:endParaRPr>
          </a:p>
          <a:p>
            <a:pPr marL="795655" lvl="2" indent="-285750"/>
            <a:r>
              <a:rPr lang="en-GB">
                <a:solidFill>
                  <a:schemeClr val="tx1">
                    <a:lumMod val="75000"/>
                    <a:lumOff val="25000"/>
                  </a:schemeClr>
                </a:solidFill>
                <a:cs typeface="Segoe UI"/>
              </a:rPr>
              <a:t>Smaller-sized labelled database (around not more than 3000 labelled data) in Safran data vs. around 100 000 in ASRS</a:t>
            </a:r>
            <a:endParaRPr lang="en-US">
              <a:solidFill>
                <a:schemeClr val="tx1">
                  <a:lumMod val="75000"/>
                  <a:lumOff val="25000"/>
                </a:schemeClr>
              </a:solidFill>
              <a:cs typeface="Segoe UI"/>
            </a:endParaRPr>
          </a:p>
          <a:p>
            <a:pPr marL="795655" lvl="2" indent="-285750"/>
            <a:r>
              <a:rPr lang="en-GB">
                <a:solidFill>
                  <a:schemeClr val="tx1">
                    <a:lumMod val="75000"/>
                    <a:lumOff val="25000"/>
                  </a:schemeClr>
                </a:solidFill>
                <a:cs typeface="Segoe UI"/>
              </a:rPr>
              <a:t>Many labels (around 100 labels) in Safran data vs. 14 labels in ASRS</a:t>
            </a:r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7345" lvl="1" indent="-163195">
              <a:buClr>
                <a:srgbClr val="7D7B8D"/>
              </a:buClr>
              <a:buFont typeface="Wingdings" panose="05000000000000000000" pitchFamily="2" charset="2"/>
              <a:buChar char="§"/>
            </a:pPr>
            <a:endParaRPr lang="en-GB" sz="1150">
              <a:solidFill>
                <a:schemeClr val="tx1">
                  <a:lumMod val="75000"/>
                  <a:lumOff val="25000"/>
                </a:schemeClr>
              </a:solidFill>
              <a:cs typeface="Segoe UI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Relevant projects at Safran:</a:t>
            </a:r>
          </a:p>
          <a:p>
            <a:pPr marL="347345" lvl="1" indent="-163195"/>
            <a:r>
              <a:rPr lang="en-GB" sz="115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A project, namely </a:t>
            </a:r>
            <a:r>
              <a:rPr lang="en-GB" sz="1150" err="1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AeroBOT</a:t>
            </a:r>
            <a:r>
              <a:rPr lang="en-GB" sz="115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(next slide), on </a:t>
            </a:r>
            <a:r>
              <a:rPr lang="en-GB" sz="1150" b="1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ASRS data</a:t>
            </a:r>
            <a:r>
              <a:rPr lang="en-GB" sz="115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with a benchmark of several NLP models.</a:t>
            </a:r>
            <a:endParaRPr lang="en-GB" sz="115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7345" lvl="1" indent="-163195">
              <a:buClr>
                <a:srgbClr val="7D7B8D"/>
              </a:buClr>
            </a:pPr>
            <a:r>
              <a:rPr lang="en-GB" sz="115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A project  on </a:t>
            </a:r>
            <a:r>
              <a:rPr lang="en-GB" sz="1150" b="1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Safran data</a:t>
            </a:r>
            <a:r>
              <a:rPr lang="en-GB" sz="115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 with one model: original BERT model fine-tuned with the labelled database</a:t>
            </a:r>
          </a:p>
          <a:p>
            <a:pPr marL="347345" lvl="1" indent="-163195">
              <a:buClr>
                <a:srgbClr val="7D7B8D"/>
              </a:buClr>
            </a:pPr>
            <a:endParaRPr lang="en-GB" sz="1150">
              <a:solidFill>
                <a:schemeClr val="tx1">
                  <a:lumMod val="75000"/>
                  <a:lumOff val="25000"/>
                </a:schemeClr>
              </a:solidFill>
              <a:cs typeface="Arial"/>
            </a:endParaRPr>
          </a:p>
          <a:p>
            <a:r>
              <a:rPr lang="en-GB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      </a:t>
            </a:r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09278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">
  <a:themeElements>
    <a:clrScheme name="Corporate">
      <a:dk1>
        <a:srgbClr val="070E1D"/>
      </a:dk1>
      <a:lt1>
        <a:srgbClr val="FFFFFF"/>
      </a:lt1>
      <a:dk2>
        <a:srgbClr val="474E67"/>
      </a:dk2>
      <a:lt2>
        <a:srgbClr val="7D7B8D"/>
      </a:lt2>
      <a:accent1>
        <a:srgbClr val="3B87CC"/>
      </a:accent1>
      <a:accent2>
        <a:srgbClr val="112753"/>
      </a:accent2>
      <a:accent3>
        <a:srgbClr val="EFF1F6"/>
      </a:accent3>
      <a:accent4>
        <a:srgbClr val="112753"/>
      </a:accent4>
      <a:accent5>
        <a:srgbClr val="3B87CC"/>
      </a:accent5>
      <a:accent6>
        <a:srgbClr val="000000"/>
      </a:accent6>
      <a:hlink>
        <a:srgbClr val="1265A2"/>
      </a:hlink>
      <a:folHlink>
        <a:srgbClr val="452BA2"/>
      </a:folHlink>
    </a:clrScheme>
    <a:fontScheme name="Personnalisé 1">
      <a:majorFont>
        <a:latin typeface="Segoe UI Black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INK">
  <a:themeElements>
    <a:clrScheme name="Pink">
      <a:dk1>
        <a:srgbClr val="070E1D"/>
      </a:dk1>
      <a:lt1>
        <a:srgbClr val="FFFFFF"/>
      </a:lt1>
      <a:dk2>
        <a:srgbClr val="474E67"/>
      </a:dk2>
      <a:lt2>
        <a:srgbClr val="7D7B8D"/>
      </a:lt2>
      <a:accent1>
        <a:srgbClr val="3B87CC"/>
      </a:accent1>
      <a:accent2>
        <a:srgbClr val="112753"/>
      </a:accent2>
      <a:accent3>
        <a:srgbClr val="EFF1F6"/>
      </a:accent3>
      <a:accent4>
        <a:srgbClr val="C31E4B"/>
      </a:accent4>
      <a:accent5>
        <a:srgbClr val="EB3986"/>
      </a:accent5>
      <a:accent6>
        <a:srgbClr val="000000"/>
      </a:accent6>
      <a:hlink>
        <a:srgbClr val="1265A2"/>
      </a:hlink>
      <a:folHlink>
        <a:srgbClr val="452BA2"/>
      </a:folHlink>
    </a:clrScheme>
    <a:fontScheme name="Personnalisé 1">
      <a:majorFont>
        <a:latin typeface="Segoe UI Black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RANGE">
  <a:themeElements>
    <a:clrScheme name="Personnalisé 2">
      <a:dk1>
        <a:srgbClr val="070E1D"/>
      </a:dk1>
      <a:lt1>
        <a:srgbClr val="FFFFFF"/>
      </a:lt1>
      <a:dk2>
        <a:srgbClr val="474E67"/>
      </a:dk2>
      <a:lt2>
        <a:srgbClr val="7D7B8D"/>
      </a:lt2>
      <a:accent1>
        <a:srgbClr val="3B87CC"/>
      </a:accent1>
      <a:accent2>
        <a:srgbClr val="112753"/>
      </a:accent2>
      <a:accent3>
        <a:srgbClr val="EFF1F6"/>
      </a:accent3>
      <a:accent4>
        <a:srgbClr val="FF7800"/>
      </a:accent4>
      <a:accent5>
        <a:srgbClr val="FFB600"/>
      </a:accent5>
      <a:accent6>
        <a:srgbClr val="000000"/>
      </a:accent6>
      <a:hlink>
        <a:srgbClr val="1265A2"/>
      </a:hlink>
      <a:folHlink>
        <a:srgbClr val="452BA2"/>
      </a:folHlink>
    </a:clrScheme>
    <a:fontScheme name="Personnalisé 1">
      <a:majorFont>
        <a:latin typeface="Segoe UI Black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GREEN">
  <a:themeElements>
    <a:clrScheme name="Personnalisé 4">
      <a:dk1>
        <a:srgbClr val="070E1D"/>
      </a:dk1>
      <a:lt1>
        <a:srgbClr val="FFFFFF"/>
      </a:lt1>
      <a:dk2>
        <a:srgbClr val="474E67"/>
      </a:dk2>
      <a:lt2>
        <a:srgbClr val="7D7B8D"/>
      </a:lt2>
      <a:accent1>
        <a:srgbClr val="3B87CC"/>
      </a:accent1>
      <a:accent2>
        <a:srgbClr val="112753"/>
      </a:accent2>
      <a:accent3>
        <a:srgbClr val="EFF1F6"/>
      </a:accent3>
      <a:accent4>
        <a:srgbClr val="00491E"/>
      </a:accent4>
      <a:accent5>
        <a:srgbClr val="2CC84D"/>
      </a:accent5>
      <a:accent6>
        <a:srgbClr val="000000"/>
      </a:accent6>
      <a:hlink>
        <a:srgbClr val="1265A2"/>
      </a:hlink>
      <a:folHlink>
        <a:srgbClr val="452BA2"/>
      </a:folHlink>
    </a:clrScheme>
    <a:fontScheme name="Personnalisé 1">
      <a:majorFont>
        <a:latin typeface="Segoe UI Black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LIGHT BLUE">
  <a:themeElements>
    <a:clrScheme name="Personnalisé 6">
      <a:dk1>
        <a:srgbClr val="070E1D"/>
      </a:dk1>
      <a:lt1>
        <a:srgbClr val="FFFFFF"/>
      </a:lt1>
      <a:dk2>
        <a:srgbClr val="474E67"/>
      </a:dk2>
      <a:lt2>
        <a:srgbClr val="7D7B8D"/>
      </a:lt2>
      <a:accent1>
        <a:srgbClr val="3B87CC"/>
      </a:accent1>
      <a:accent2>
        <a:srgbClr val="112753"/>
      </a:accent2>
      <a:accent3>
        <a:srgbClr val="EFF1F6"/>
      </a:accent3>
      <a:accent4>
        <a:srgbClr val="2C4D59"/>
      </a:accent4>
      <a:accent5>
        <a:srgbClr val="15D0CB"/>
      </a:accent5>
      <a:accent6>
        <a:srgbClr val="000000"/>
      </a:accent6>
      <a:hlink>
        <a:srgbClr val="1265A2"/>
      </a:hlink>
      <a:folHlink>
        <a:srgbClr val="452BA2"/>
      </a:folHlink>
    </a:clrScheme>
    <a:fontScheme name="Personnalisé 1">
      <a:majorFont>
        <a:latin typeface="Segoe UI Black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SAFRAN_Bleu">
  <a:themeElements>
    <a:clrScheme name="Safran_PPT">
      <a:dk1>
        <a:srgbClr val="000000"/>
      </a:dk1>
      <a:lt1>
        <a:sysClr val="window" lastClr="FFFFFF"/>
      </a:lt1>
      <a:dk2>
        <a:srgbClr val="00839B"/>
      </a:dk2>
      <a:lt2>
        <a:srgbClr val="4EC1E0"/>
      </a:lt2>
      <a:accent1>
        <a:srgbClr val="014491"/>
      </a:accent1>
      <a:accent2>
        <a:srgbClr val="525668"/>
      </a:accent2>
      <a:accent3>
        <a:srgbClr val="7E9BC0"/>
      </a:accent3>
      <a:accent4>
        <a:srgbClr val="FF5000"/>
      </a:accent4>
      <a:accent5>
        <a:srgbClr val="42683C"/>
      </a:accent5>
      <a:accent6>
        <a:srgbClr val="00C18B"/>
      </a:accent6>
      <a:hlink>
        <a:srgbClr val="2E2825"/>
      </a:hlink>
      <a:folHlink>
        <a:srgbClr val="2E2825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sque PPT DMAIC FR.potx" id="{E39A9890-366B-4874-B8D8-F2489E4562F5}" vid="{31D63CF7-5233-4E30-8348-CBB795915B83}"/>
    </a:ext>
  </a:extLst>
</a:theme>
</file>

<file path=ppt/theme/theme7.xml><?xml version="1.0" encoding="utf-8"?>
<a:theme xmlns:a="http://schemas.openxmlformats.org/drawingml/2006/main" name="Masque_PPT_Safran_groupe_FR">
  <a:themeElements>
    <a:clrScheme name="Safran_PPT">
      <a:dk1>
        <a:srgbClr val="000000"/>
      </a:dk1>
      <a:lt1>
        <a:sysClr val="window" lastClr="FFFFFF"/>
      </a:lt1>
      <a:dk2>
        <a:srgbClr val="00839B"/>
      </a:dk2>
      <a:lt2>
        <a:srgbClr val="4EC1E0"/>
      </a:lt2>
      <a:accent1>
        <a:srgbClr val="014491"/>
      </a:accent1>
      <a:accent2>
        <a:srgbClr val="525668"/>
      </a:accent2>
      <a:accent3>
        <a:srgbClr val="7E9BC0"/>
      </a:accent3>
      <a:accent4>
        <a:srgbClr val="FF5000"/>
      </a:accent4>
      <a:accent5>
        <a:srgbClr val="42683C"/>
      </a:accent5>
      <a:accent6>
        <a:srgbClr val="00C18B"/>
      </a:accent6>
      <a:hlink>
        <a:srgbClr val="2E2825"/>
      </a:hlink>
      <a:folHlink>
        <a:srgbClr val="2E2825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5" id="{33DB3FAE-8290-B94D-87C6-8CBB0660F742}" vid="{9FEBAFEE-789F-4B4B-A955-180A88C16476}"/>
    </a:ext>
  </a:extLst>
</a:theme>
</file>

<file path=ppt/theme/theme8.xml><?xml version="1.0" encoding="utf-8"?>
<a:theme xmlns:a="http://schemas.openxmlformats.org/drawingml/2006/main" name="1_Masque_PPT_Safran_groupe_FR">
  <a:themeElements>
    <a:clrScheme name="Safran_PPT">
      <a:dk1>
        <a:srgbClr val="000000"/>
      </a:dk1>
      <a:lt1>
        <a:sysClr val="window" lastClr="FFFFFF"/>
      </a:lt1>
      <a:dk2>
        <a:srgbClr val="00839B"/>
      </a:dk2>
      <a:lt2>
        <a:srgbClr val="4EC1E0"/>
      </a:lt2>
      <a:accent1>
        <a:srgbClr val="014491"/>
      </a:accent1>
      <a:accent2>
        <a:srgbClr val="525668"/>
      </a:accent2>
      <a:accent3>
        <a:srgbClr val="7E9BC0"/>
      </a:accent3>
      <a:accent4>
        <a:srgbClr val="FF5000"/>
      </a:accent4>
      <a:accent5>
        <a:srgbClr val="42683C"/>
      </a:accent5>
      <a:accent6>
        <a:srgbClr val="00C18B"/>
      </a:accent6>
      <a:hlink>
        <a:srgbClr val="2E2825"/>
      </a:hlink>
      <a:folHlink>
        <a:srgbClr val="2E2825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5" id="{33DB3FAE-8290-B94D-87C6-8CBB0660F742}" vid="{9FEBAFEE-789F-4B4B-A955-180A88C16476}"/>
    </a:ext>
  </a:extLst>
</a:theme>
</file>

<file path=ppt/theme/theme9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8EA1985D476BE4EA82E45432724AE9E" ma:contentTypeVersion="3" ma:contentTypeDescription="Create a new document." ma:contentTypeScope="" ma:versionID="1b5092bdb4ee65531f1cc0e3e1791c6a">
  <xsd:schema xmlns:xsd="http://www.w3.org/2001/XMLSchema" xmlns:xs="http://www.w3.org/2001/XMLSchema" xmlns:p="http://schemas.microsoft.com/office/2006/metadata/properties" xmlns:ns2="dcf6715c-7a35-414d-8850-5e17680598d8" targetNamespace="http://schemas.microsoft.com/office/2006/metadata/properties" ma:root="true" ma:fieldsID="22864ea938cbd0838c3eeb9d6d84eaaa" ns2:_="">
    <xsd:import namespace="dcf6715c-7a35-414d-8850-5e17680598d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f6715c-7a35-414d-8850-5e17680598d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13C8DC2-7E09-49F3-AA5E-7F8203351F59}">
  <ds:schemaRefs>
    <ds:schemaRef ds:uri="dcf6715c-7a35-414d-8850-5e17680598d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79E681F-F92C-4FC1-AF55-7E09214E7809}">
  <ds:schemaRefs>
    <ds:schemaRef ds:uri="594212a7-a8eb-497d-bd6b-0e3a174923e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83AB938-713E-4041-B192-C136520D3CB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69</Words>
  <Application>Microsoft Office PowerPoint</Application>
  <PresentationFormat>Personnalisé</PresentationFormat>
  <Paragraphs>166</Paragraphs>
  <Slides>17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8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17</vt:i4>
      </vt:variant>
    </vt:vector>
  </HeadingPairs>
  <TitlesOfParts>
    <vt:vector size="36" baseType="lpstr">
      <vt:lpstr>Arial</vt:lpstr>
      <vt:lpstr>Arial Black</vt:lpstr>
      <vt:lpstr>Arial,Sans-Serif</vt:lpstr>
      <vt:lpstr>Calibri</vt:lpstr>
      <vt:lpstr>Microsoft Sans Serif</vt:lpstr>
      <vt:lpstr>Segoe UI</vt:lpstr>
      <vt:lpstr>Segoe UI Black</vt:lpstr>
      <vt:lpstr>Wingdings</vt:lpstr>
      <vt:lpstr>Wingdings 2</vt:lpstr>
      <vt:lpstr>CORPORATE</vt:lpstr>
      <vt:lpstr>PINK</vt:lpstr>
      <vt:lpstr>ORANGE</vt:lpstr>
      <vt:lpstr>GREEN</vt:lpstr>
      <vt:lpstr>LIGHT BLUE</vt:lpstr>
      <vt:lpstr>SAFRAN_Bleu</vt:lpstr>
      <vt:lpstr>Masque_PPT_Safran_groupe_FR</vt:lpstr>
      <vt:lpstr>1_Masque_PPT_Safran_groupe_FR</vt:lpstr>
      <vt:lpstr>Diapositive think-cell</vt:lpstr>
      <vt:lpstr>Présentation</vt:lpstr>
      <vt:lpstr>Présentation PowerPoint</vt:lpstr>
      <vt:lpstr>Présentation PowerPoint</vt:lpstr>
      <vt:lpstr>Presentation </vt:lpstr>
      <vt:lpstr>Présentation PowerPoint</vt:lpstr>
      <vt:lpstr>SAFRAN TECH at the core of the digital transformation</vt:lpstr>
      <vt:lpstr>DST (Digital Science &amp; Technologies)</vt:lpstr>
      <vt:lpstr>MATD : MATHEMATICS &amp; ALGORITHMS ON TEMPORAL DATA</vt:lpstr>
      <vt:lpstr>Présentation PowerPoint</vt:lpstr>
      <vt:lpstr>Context </vt:lpstr>
      <vt:lpstr>Présentation PowerPoint</vt:lpstr>
      <vt:lpstr>AeroBOT project </vt:lpstr>
      <vt:lpstr>Goals </vt:lpstr>
      <vt:lpstr>Présentation PowerPoint</vt:lpstr>
      <vt:lpstr>Organization</vt:lpstr>
      <vt:lpstr>Planning </vt:lpstr>
      <vt:lpstr>First Week (03/11/2023 - 10/11/2023)</vt:lpstr>
      <vt:lpstr>Présentation PowerPoint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èle - Powerpoint_Safran SA</dc:title>
  <dc:creator>pagecran</dc:creator>
  <cp:lastModifiedBy>VU Dong Quan (SAFRAN)</cp:lastModifiedBy>
  <cp:revision>14</cp:revision>
  <dcterms:created xsi:type="dcterms:W3CDTF">2013-03-06T15:31:41Z</dcterms:created>
  <dcterms:modified xsi:type="dcterms:W3CDTF">2023-11-03T13:24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bb961bf9-d2c3-49f3-b774-0a74abb297cd</vt:lpwstr>
  </property>
  <property fmtid="{D5CDD505-2E9C-101B-9397-08002B2CF9AE}" pid="3" name="Confidentiality">
    <vt:lpwstr>C1</vt:lpwstr>
  </property>
  <property fmtid="{D5CDD505-2E9C-101B-9397-08002B2CF9AE}" pid="4" name="NationalSecret">
    <vt:lpwstr>NONS</vt:lpwstr>
  </property>
  <property fmtid="{D5CDD505-2E9C-101B-9397-08002B2CF9AE}" pid="5" name="ExportControl">
    <vt:lpwstr/>
  </property>
  <property fmtid="{D5CDD505-2E9C-101B-9397-08002B2CF9AE}" pid="6" name="TaxKeyword">
    <vt:lpwstr/>
  </property>
  <property fmtid="{D5CDD505-2E9C-101B-9397-08002B2CF9AE}" pid="7" name="SAF_CrossOverFunctions">
    <vt:lpwstr/>
  </property>
  <property fmtid="{D5CDD505-2E9C-101B-9397-08002B2CF9AE}" pid="8" name="SAF_DocumentsType">
    <vt:lpwstr>13;#Modèle de PowerPoint|80c833d3-038d-45cb-b65f-a8d2234b6314</vt:lpwstr>
  </property>
  <property fmtid="{D5CDD505-2E9C-101B-9397-08002B2CF9AE}" pid="9" name="SAF_SubSidiaryLevel2">
    <vt:lpwstr/>
  </property>
  <property fmtid="{D5CDD505-2E9C-101B-9397-08002B2CF9AE}" pid="10" name="SAF_Location">
    <vt:lpwstr/>
  </property>
  <property fmtid="{D5CDD505-2E9C-101B-9397-08002B2CF9AE}" pid="11" name="ContentTypeId">
    <vt:lpwstr>0x010100E8EA1985D476BE4EA82E45432724AE9E</vt:lpwstr>
  </property>
  <property fmtid="{D5CDD505-2E9C-101B-9397-08002B2CF9AE}" pid="12" name="SAF_BusinessUnit">
    <vt:lpwstr/>
  </property>
  <property fmtid="{D5CDD505-2E9C-101B-9397-08002B2CF9AE}" pid="13" name="SAF_Company">
    <vt:lpwstr>4;#Safran SA|aaa54815-a829-4454-b47a-5471280a13ab</vt:lpwstr>
  </property>
  <property fmtid="{D5CDD505-2E9C-101B-9397-08002B2CF9AE}" pid="14" name="SAF_Division">
    <vt:lpwstr/>
  </property>
  <property fmtid="{D5CDD505-2E9C-101B-9397-08002B2CF9AE}" pid="15" name="SAF_SubSidiaryLevel1">
    <vt:lpwstr/>
  </property>
  <property fmtid="{D5CDD505-2E9C-101B-9397-08002B2CF9AE}" pid="16" name="SAF_Site">
    <vt:lpwstr/>
  </property>
  <property fmtid="{D5CDD505-2E9C-101B-9397-08002B2CF9AE}" pid="17" name="SAF_Perimetre">
    <vt:lpwstr>2;#Société de rang 1|153bb90e-11c3-427f-ad6a-31f0311df60b</vt:lpwstr>
  </property>
  <property fmtid="{D5CDD505-2E9C-101B-9397-08002B2CF9AE}" pid="18" name="SAF_Country">
    <vt:lpwstr/>
  </property>
  <property fmtid="{D5CDD505-2E9C-101B-9397-08002B2CF9AE}" pid="19" name="MSIP_Label_024ffcea-f25b-491e-9dc9-834516f3550e_Enabled">
    <vt:lpwstr>true</vt:lpwstr>
  </property>
  <property fmtid="{D5CDD505-2E9C-101B-9397-08002B2CF9AE}" pid="20" name="MSIP_Label_024ffcea-f25b-491e-9dc9-834516f3550e_SetDate">
    <vt:lpwstr>2023-11-03T13:24:14Z</vt:lpwstr>
  </property>
  <property fmtid="{D5CDD505-2E9C-101B-9397-08002B2CF9AE}" pid="21" name="MSIP_Label_024ffcea-f25b-491e-9dc9-834516f3550e_Method">
    <vt:lpwstr>Standard</vt:lpwstr>
  </property>
  <property fmtid="{D5CDD505-2E9C-101B-9397-08002B2CF9AE}" pid="22" name="MSIP_Label_024ffcea-f25b-491e-9dc9-834516f3550e_Name">
    <vt:lpwstr>C2 - restricted</vt:lpwstr>
  </property>
  <property fmtid="{D5CDD505-2E9C-101B-9397-08002B2CF9AE}" pid="23" name="MSIP_Label_024ffcea-f25b-491e-9dc9-834516f3550e_SiteId">
    <vt:lpwstr>d52b49b7-0c8f-4d89-8c4f-f20517306e08</vt:lpwstr>
  </property>
  <property fmtid="{D5CDD505-2E9C-101B-9397-08002B2CF9AE}" pid="24" name="MSIP_Label_024ffcea-f25b-491e-9dc9-834516f3550e_ActionId">
    <vt:lpwstr>9241c0b8-01dc-43f7-9725-91077974a9d4</vt:lpwstr>
  </property>
  <property fmtid="{D5CDD505-2E9C-101B-9397-08002B2CF9AE}" pid="25" name="MSIP_Label_024ffcea-f25b-491e-9dc9-834516f3550e_ContentBits">
    <vt:lpwstr>1</vt:lpwstr>
  </property>
</Properties>
</file>